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4.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5.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6.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8.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76.svg" ContentType="image/svg"/>
  <Override PartName="/ppt/media/image78.svg" ContentType="image/svg"/>
  <Override PartName="/ppt/media/image80.svg" ContentType="image/svg"/>
  <Override PartName="/ppt/media/image82.svg" ContentType="image/svg"/>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0" r:id="rId5"/>
    <p:sldMasterId id="2147483746" r:id="rId6"/>
    <p:sldMasterId id="2147483817" r:id="rId7"/>
    <p:sldMasterId id="2147483994" r:id="rId8"/>
    <p:sldMasterId id="2147484007" r:id="rId9"/>
    <p:sldMasterId id="2147484036" r:id="rId10"/>
    <p:sldMasterId id="2147484108" r:id="rId11"/>
    <p:sldMasterId id="2147484127" r:id="rId12"/>
  </p:sldMasterIdLst>
  <p:notesMasterIdLst>
    <p:notesMasterId r:id="rId42"/>
  </p:notesMasterIdLst>
  <p:sldIdLst>
    <p:sldId id="2147479231" r:id="rId13"/>
    <p:sldId id="2726" r:id="rId14"/>
    <p:sldId id="3410" r:id="rId15"/>
    <p:sldId id="2147469186" r:id="rId16"/>
    <p:sldId id="2147469275" r:id="rId17"/>
    <p:sldId id="2147469282" r:id="rId18"/>
    <p:sldId id="4191" r:id="rId19"/>
    <p:sldId id="2640" r:id="rId20"/>
    <p:sldId id="2147479232" r:id="rId21"/>
    <p:sldId id="4761" r:id="rId22"/>
    <p:sldId id="2646" r:id="rId23"/>
    <p:sldId id="2147479220" r:id="rId24"/>
    <p:sldId id="2147469162" r:id="rId25"/>
    <p:sldId id="2147469278" r:id="rId26"/>
    <p:sldId id="2147469166" r:id="rId27"/>
    <p:sldId id="2147469280" r:id="rId28"/>
    <p:sldId id="2147469271" r:id="rId29"/>
    <p:sldId id="4678" r:id="rId30"/>
    <p:sldId id="2147469258" r:id="rId31"/>
    <p:sldId id="2147469272" r:id="rId32"/>
    <p:sldId id="2147469273" r:id="rId33"/>
    <p:sldId id="2147469217" r:id="rId34"/>
    <p:sldId id="2147469260" r:id="rId35"/>
    <p:sldId id="4685" r:id="rId36"/>
    <p:sldId id="4660" r:id="rId37"/>
    <p:sldId id="4755" r:id="rId38"/>
    <p:sldId id="2685" r:id="rId39"/>
    <p:sldId id="4753" r:id="rId40"/>
    <p:sldId id="2623"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93" d="100"/>
          <a:sy n="93" d="100"/>
        </p:scale>
        <p:origin x="552"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88F2FB-52C4-4D89-9442-2F1FF2D896F3}" type="datetimeFigureOut">
              <a:rPr lang="en-US" smtClean="0"/>
              <a:t>4/2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EAB9D7-B727-4CBB-B2EC-098F728AB009}" type="slidenum">
              <a:rPr lang="en-US" smtClean="0"/>
              <a:t>‹#›</a:t>
            </a:fld>
            <a:endParaRPr lang="en-US"/>
          </a:p>
        </p:txBody>
      </p:sp>
    </p:spTree>
    <p:extLst>
      <p:ext uri="{BB962C8B-B14F-4D97-AF65-F5344CB8AC3E}">
        <p14:creationId xmlns:p14="http://schemas.microsoft.com/office/powerpoint/2010/main" val="19554330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5549635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106982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39317558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26758510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2221122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237659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1692393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2995516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1145733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40345391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1828434" rtl="0" eaLnBrk="1" fontAlgn="auto" latinLnBrk="0" hangingPunct="1">
              <a:lnSpc>
                <a:spcPct val="100000"/>
              </a:lnSpc>
              <a:spcBef>
                <a:spcPct val="0"/>
              </a:spcBef>
              <a:spcAft>
                <a:spcPct val="0"/>
              </a:spcAft>
              <a:buClrTx/>
              <a:buSzTx/>
              <a:buFontTx/>
              <a:buNone/>
              <a:tabLst/>
              <a:defRPr/>
            </a:pPr>
            <a:fld id="{006BE02D-20C0-F840-AFAC-BEA99C74FDC2}" type="slidenum">
              <a:rPr kumimoji="0" lang="en-US" sz="1200" b="0" i="0" u="none" strike="noStrike" kern="1200" cap="none" spc="0" normalizeH="0" baseline="0" noProof="0" smtClean="0">
                <a:ln>
                  <a:noFill/>
                </a:ln>
                <a:solidFill>
                  <a:prstClr val="black"/>
                </a:solidFill>
                <a:effectLst/>
                <a:uLnTx/>
                <a:uFillTx/>
                <a:latin typeface="Montserrat Light" charset="0"/>
                <a:ea typeface="Calibri" panose="020F0502020204030204"/>
                <a:cs typeface="Arial"/>
              </a:rPr>
              <a:pPr marL="0" marR="0" lvl="0" indent="0" algn="r" defTabSz="1828434" rtl="0" eaLnBrk="1" fontAlgn="auto"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Montserrat Light" charset="0"/>
              <a:ea typeface="Calibri" panose="020F0502020204030204"/>
              <a:cs typeface="Arial"/>
            </a:endParaRPr>
          </a:p>
        </p:txBody>
      </p:sp>
    </p:spTree>
    <p:extLst>
      <p:ext uri="{BB962C8B-B14F-4D97-AF65-F5344CB8AC3E}">
        <p14:creationId xmlns:p14="http://schemas.microsoft.com/office/powerpoint/2010/main" val="21856237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41F210-48CF-2FAF-6A03-8869F719F6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8DB3013-1A3C-AE0E-90D9-2E78190590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C4E992-2631-82E1-2404-F56D81B67EA6}"/>
              </a:ext>
            </a:extLst>
          </p:cNvPr>
          <p:cNvSpPr>
            <a:spLocks noGrp="1"/>
          </p:cNvSpPr>
          <p:nvPr>
            <p:ph type="body" idx="1"/>
          </p:nvPr>
        </p:nvSpPr>
        <p:spPr/>
        <p:txBody>
          <a:bodyPr/>
          <a:lstStyle/>
          <a:p>
            <a:pPr marL="0" marR="0" lvl="0" indent="0" algn="l" defTabSz="457109" rtl="0" eaLnBrk="1" fontAlgn="auto" latinLnBrk="0" hangingPunct="1">
              <a:lnSpc>
                <a:spcPct val="100000"/>
              </a:lnSpc>
              <a:spcBef>
                <a:spcPts val="0"/>
              </a:spcBef>
              <a:spcAft>
                <a:spcPts val="0"/>
              </a:spcAft>
              <a:buClrTx/>
              <a:buSzTx/>
              <a:buFontTx/>
              <a:buNone/>
              <a:tabLst/>
              <a:defRPr/>
            </a:pPr>
            <a:endParaRPr lang="en-US" dirty="0"/>
          </a:p>
          <a:p>
            <a:endParaRPr lang="en-US" b="0" dirty="0"/>
          </a:p>
        </p:txBody>
      </p:sp>
      <p:sp>
        <p:nvSpPr>
          <p:cNvPr id="4" name="Slide Number Placeholder 3">
            <a:extLst>
              <a:ext uri="{FF2B5EF4-FFF2-40B4-BE49-F238E27FC236}">
                <a16:creationId xmlns:a16="http://schemas.microsoft.com/office/drawing/2014/main" id="{4679C991-09C8-48A6-989F-86D66E93034C}"/>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6BE02D-20C0-F840-AFAC-BEA99C74FDC2}" type="slidenum">
              <a:rPr kumimoji="0" lang="en-US" sz="1200" b="1" i="0" u="none" strike="noStrike" kern="1200" cap="none" spc="0" normalizeH="0" baseline="0" noProof="0" smtClean="0">
                <a:ln>
                  <a:noFill/>
                </a:ln>
                <a:solidFill>
                  <a:prstClr val="black"/>
                </a:solidFill>
                <a:effectLst/>
                <a:uLnTx/>
                <a:uFillTx/>
                <a:latin typeface="Open Sans Semibold"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dirty="0">
              <a:ln>
                <a:noFill/>
              </a:ln>
              <a:solidFill>
                <a:prstClr val="black"/>
              </a:solidFill>
              <a:effectLst/>
              <a:uLnTx/>
              <a:uFillTx/>
              <a:latin typeface="Open Sans Semibold" charset="0"/>
              <a:ea typeface="+mn-ea"/>
              <a:cs typeface="+mn-cs"/>
            </a:endParaRPr>
          </a:p>
        </p:txBody>
      </p:sp>
    </p:spTree>
    <p:extLst>
      <p:ext uri="{BB962C8B-B14F-4D97-AF65-F5344CB8AC3E}">
        <p14:creationId xmlns:p14="http://schemas.microsoft.com/office/powerpoint/2010/main" val="19133870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11363441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1481851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Tree>
    <p:extLst>
      <p:ext uri="{BB962C8B-B14F-4D97-AF65-F5344CB8AC3E}">
        <p14:creationId xmlns:p14="http://schemas.microsoft.com/office/powerpoint/2010/main" val="35965815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Master" Target="../slideMasters/slideMaster4.xml"/><Relationship Id="rId6" Type="http://schemas.openxmlformats.org/officeDocument/2006/relationships/image" Target="../media/image33.svg"/><Relationship Id="rId5" Type="http://schemas.openxmlformats.org/officeDocument/2006/relationships/image" Target="../media/image16.png"/><Relationship Id="rId4" Type="http://schemas.openxmlformats.org/officeDocument/2006/relationships/image" Target="../media/image32.svg"/><Relationship Id="rId9" Type="http://schemas.openxmlformats.org/officeDocument/2006/relationships/image" Target="../media/image20.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1.jpg"/><Relationship Id="rId1" Type="http://schemas.openxmlformats.org/officeDocument/2006/relationships/slideMaster" Target="../slideMasters/slideMaster5.xml"/><Relationship Id="rId4" Type="http://schemas.openxmlformats.org/officeDocument/2006/relationships/image" Target="../media/image23.sv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5.xml"/><Relationship Id="rId6" Type="http://schemas.openxmlformats.org/officeDocument/2006/relationships/image" Target="../media/image42.svg"/><Relationship Id="rId5" Type="http://schemas.openxmlformats.org/officeDocument/2006/relationships/image" Target="../media/image36.png"/><Relationship Id="rId10" Type="http://schemas.openxmlformats.org/officeDocument/2006/relationships/image" Target="../media/image34.svg"/><Relationship Id="rId4" Type="http://schemas.openxmlformats.org/officeDocument/2006/relationships/image" Target="../media/image32.svg"/><Relationship Id="rId9" Type="http://schemas.openxmlformats.org/officeDocument/2006/relationships/image" Target="../media/image18.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3.jp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4.jp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1.jp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1.jpg"/><Relationship Id="rId1" Type="http://schemas.openxmlformats.org/officeDocument/2006/relationships/slideMaster" Target="../slideMasters/slideMaster6.xml"/><Relationship Id="rId4" Type="http://schemas.openxmlformats.org/officeDocument/2006/relationships/image" Target="../media/image23.sv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Master" Target="../slideMasters/slideMaster6.xml"/><Relationship Id="rId6" Type="http://schemas.openxmlformats.org/officeDocument/2006/relationships/image" Target="../media/image46.svg"/><Relationship Id="rId5" Type="http://schemas.openxmlformats.org/officeDocument/2006/relationships/image" Target="../media/image16.png"/><Relationship Id="rId4" Type="http://schemas.openxmlformats.org/officeDocument/2006/relationships/image" Target="../media/image45.svg"/><Relationship Id="rId9" Type="http://schemas.openxmlformats.org/officeDocument/2006/relationships/image" Target="../media/image20.pn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8.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8.emf"/><Relationship Id="rId4" Type="http://schemas.openxmlformats.org/officeDocument/2006/relationships/oleObject" Target="../embeddings/oleObject2.bin"/></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5.xml"/><Relationship Id="rId5" Type="http://schemas.openxmlformats.org/officeDocument/2006/relationships/image" Target="../media/image49.png"/><Relationship Id="rId4" Type="http://schemas.openxmlformats.org/officeDocument/2006/relationships/image" Target="../media/image48.emf"/></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8.png"/><Relationship Id="rId1" Type="http://schemas.openxmlformats.org/officeDocument/2006/relationships/slideMaster" Target="../slideMasters/slideMaster7.xml"/><Relationship Id="rId4" Type="http://schemas.openxmlformats.org/officeDocument/2006/relationships/image" Target="../media/image39.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8.png"/><Relationship Id="rId1" Type="http://schemas.openxmlformats.org/officeDocument/2006/relationships/slideMaster" Target="../slideMasters/slideMaster7.xml"/><Relationship Id="rId4" Type="http://schemas.openxmlformats.org/officeDocument/2006/relationships/image" Target="../media/image39.svg"/></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5.svg"/><Relationship Id="rId2" Type="http://schemas.openxmlformats.org/officeDocument/2006/relationships/slideMaster" Target="../slideMasters/slideMaster7.xml"/><Relationship Id="rId1" Type="http://schemas.openxmlformats.org/officeDocument/2006/relationships/tags" Target="../tags/tag6.xml"/><Relationship Id="rId6" Type="http://schemas.openxmlformats.org/officeDocument/2006/relationships/image" Target="../media/image24.png"/><Relationship Id="rId5" Type="http://schemas.openxmlformats.org/officeDocument/2006/relationships/image" Target="../media/image51.png"/><Relationship Id="rId4" Type="http://schemas.openxmlformats.org/officeDocument/2006/relationships/image" Target="../media/image50.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25.sv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7.xml"/><Relationship Id="rId5" Type="http://schemas.openxmlformats.org/officeDocument/2006/relationships/image" Target="../media/image52.png"/><Relationship Id="rId4" Type="http://schemas.openxmlformats.org/officeDocument/2006/relationships/image" Target="../media/image50.emf"/></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4.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5.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4.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5.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7.xml"/><Relationship Id="rId6" Type="http://schemas.openxmlformats.org/officeDocument/2006/relationships/image" Target="../media/image56.svg"/><Relationship Id="rId5" Type="http://schemas.openxmlformats.org/officeDocument/2006/relationships/image" Target="../media/image36.png"/><Relationship Id="rId10" Type="http://schemas.openxmlformats.org/officeDocument/2006/relationships/image" Target="../media/image47.svg"/><Relationship Id="rId4" Type="http://schemas.openxmlformats.org/officeDocument/2006/relationships/image" Target="../media/image45.svg"/><Relationship Id="rId9" Type="http://schemas.openxmlformats.org/officeDocument/2006/relationships/image" Target="../media/image18.pn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8.xml"/><Relationship Id="rId4" Type="http://schemas.openxmlformats.org/officeDocument/2006/relationships/image" Target="../media/image48.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25.svg"/><Relationship Id="rId2" Type="http://schemas.openxmlformats.org/officeDocument/2006/relationships/slideMaster" Target="../slideMasters/slideMaster7.xml"/><Relationship Id="rId1" Type="http://schemas.openxmlformats.org/officeDocument/2006/relationships/tags" Target="../tags/tag9.xml"/><Relationship Id="rId6" Type="http://schemas.openxmlformats.org/officeDocument/2006/relationships/image" Target="../media/image24.png"/><Relationship Id="rId5" Type="http://schemas.openxmlformats.org/officeDocument/2006/relationships/image" Target="../media/image51.png"/><Relationship Id="rId4" Type="http://schemas.openxmlformats.org/officeDocument/2006/relationships/image" Target="../media/image50.emf"/></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9.png"/><Relationship Id="rId1" Type="http://schemas.openxmlformats.org/officeDocument/2006/relationships/slideMaster" Target="../slideMasters/slideMaster7.xml"/><Relationship Id="rId4" Type="http://schemas.openxmlformats.org/officeDocument/2006/relationships/image" Target="../media/image25.svg"/></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7.xml"/><Relationship Id="rId1" Type="http://schemas.openxmlformats.org/officeDocument/2006/relationships/tags" Target="../tags/tag10.xml"/><Relationship Id="rId5" Type="http://schemas.openxmlformats.org/officeDocument/2006/relationships/image" Target="../media/image52.png"/><Relationship Id="rId4" Type="http://schemas.openxmlformats.org/officeDocument/2006/relationships/image" Target="../media/image50.emf"/></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4.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5.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3.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1.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4.jpg"/><Relationship Id="rId1" Type="http://schemas.openxmlformats.org/officeDocument/2006/relationships/slideMaster" Target="../slideMasters/slideMaster7.xml"/><Relationship Id="rId4" Type="http://schemas.openxmlformats.org/officeDocument/2006/relationships/image" Target="../media/image23.svg"/></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7.xml"/><Relationship Id="rId6" Type="http://schemas.openxmlformats.org/officeDocument/2006/relationships/image" Target="../media/image56.svg"/><Relationship Id="rId5" Type="http://schemas.openxmlformats.org/officeDocument/2006/relationships/image" Target="../media/image36.png"/><Relationship Id="rId10" Type="http://schemas.openxmlformats.org/officeDocument/2006/relationships/image" Target="../media/image34.svg"/><Relationship Id="rId4" Type="http://schemas.openxmlformats.org/officeDocument/2006/relationships/image" Target="../media/image32.svg"/><Relationship Id="rId9" Type="http://schemas.openxmlformats.org/officeDocument/2006/relationships/image" Target="../media/image18.png"/></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0.jp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1.jpg"/><Relationship Id="rId1" Type="http://schemas.openxmlformats.org/officeDocument/2006/relationships/slideMaster" Target="../slideMasters/slideMaster9.xml"/><Relationship Id="rId4" Type="http://schemas.openxmlformats.org/officeDocument/2006/relationships/image" Target="../media/image23.sv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Master" Target="../slideMasters/slideMaster9.xml"/><Relationship Id="rId6" Type="http://schemas.openxmlformats.org/officeDocument/2006/relationships/image" Target="../media/image46.svg"/><Relationship Id="rId5" Type="http://schemas.openxmlformats.org/officeDocument/2006/relationships/image" Target="../media/image16.png"/><Relationship Id="rId4" Type="http://schemas.openxmlformats.org/officeDocument/2006/relationships/image" Target="../media/image45.svg"/><Relationship Id="rId9" Type="http://schemas.openxmlformats.org/officeDocument/2006/relationships/image" Target="../media/image20.png"/></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Master" Target="../slideMasters/slideMaster1.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 Id="rId9"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xml"/><Relationship Id="rId4" Type="http://schemas.openxmlformats.org/officeDocument/2006/relationships/image" Target="../media/image23.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1.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jpg"/><Relationship Id="rId1" Type="http://schemas.openxmlformats.org/officeDocument/2006/relationships/slideMaster" Target="../slideMasters/slideMaster2.xml"/><Relationship Id="rId6" Type="http://schemas.openxmlformats.org/officeDocument/2006/relationships/image" Target="../media/image33.svg"/><Relationship Id="rId5" Type="http://schemas.openxmlformats.org/officeDocument/2006/relationships/image" Target="../media/image16.png"/><Relationship Id="rId4" Type="http://schemas.openxmlformats.org/officeDocument/2006/relationships/image" Target="../media/image32.svg"/><Relationship Id="rId9" Type="http://schemas.openxmlformats.org/officeDocument/2006/relationships/image" Target="../media/image20.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2.xml"/><Relationship Id="rId4" Type="http://schemas.openxmlformats.org/officeDocument/2006/relationships/image" Target="../media/image23.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5.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1.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4.png"/><Relationship Id="rId7" Type="http://schemas.openxmlformats.org/officeDocument/2006/relationships/image" Target="../media/image16.png"/><Relationship Id="rId2" Type="http://schemas.openxmlformats.org/officeDocument/2006/relationships/image" Target="../media/image13.jpg"/><Relationship Id="rId1" Type="http://schemas.openxmlformats.org/officeDocument/2006/relationships/slideMaster" Target="../slideMasters/slideMaster3.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19.svg"/><Relationship Id="rId4" Type="http://schemas.openxmlformats.org/officeDocument/2006/relationships/image" Target="../media/image15.svg"/><Relationship Id="rId9" Type="http://schemas.openxmlformats.org/officeDocument/2006/relationships/image" Target="../media/image18.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3.xml"/><Relationship Id="rId4" Type="http://schemas.openxmlformats.org/officeDocument/2006/relationships/image" Target="../media/image23.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8.png"/><Relationship Id="rId1" Type="http://schemas.openxmlformats.org/officeDocument/2006/relationships/slideMaster" Target="../slideMasters/slideMaster3.xml"/><Relationship Id="rId4" Type="http://schemas.openxmlformats.org/officeDocument/2006/relationships/image" Target="../media/image39.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0.jpg"/><Relationship Id="rId1" Type="http://schemas.openxmlformats.org/officeDocument/2006/relationships/slideMaster" Target="../slideMasters/slideMaster4.xml"/><Relationship Id="rId4" Type="http://schemas.openxmlformats.org/officeDocument/2006/relationships/image" Target="../media/image23.sv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7.jpg"/><Relationship Id="rId1" Type="http://schemas.openxmlformats.org/officeDocument/2006/relationships/slideMaster" Target="../slideMasters/slideMaster4.xml"/><Relationship Id="rId4" Type="http://schemas.openxmlformats.org/officeDocument/2006/relationships/image" Target="../media/image23.sv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8.jpg"/><Relationship Id="rId1" Type="http://schemas.openxmlformats.org/officeDocument/2006/relationships/slideMaster" Target="../slideMasters/slideMaster4.xml"/><Relationship Id="rId4" Type="http://schemas.openxmlformats.org/officeDocument/2006/relationships/image" Target="../media/image23.sv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9.jpg"/><Relationship Id="rId1" Type="http://schemas.openxmlformats.org/officeDocument/2006/relationships/slideMaster" Target="../slideMasters/slideMaster4.xml"/><Relationship Id="rId4" Type="http://schemas.openxmlformats.org/officeDocument/2006/relationships/image" Target="../media/image23.sv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0.jpg"/><Relationship Id="rId1" Type="http://schemas.openxmlformats.org/officeDocument/2006/relationships/slideMaster" Target="../slideMasters/slideMaster4.xml"/><Relationship Id="rId4" Type="http://schemas.openxmlformats.org/officeDocument/2006/relationships/image" Target="../media/image23.sv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1.jpg"/><Relationship Id="rId1" Type="http://schemas.openxmlformats.org/officeDocument/2006/relationships/slideMaster" Target="../slideMasters/slideMaster4.xml"/><Relationship Id="rId4" Type="http://schemas.openxmlformats.org/officeDocument/2006/relationships/image" Target="../media/image23.sv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501898-8BEC-870B-0BAA-7CF02D9E8E9F}"/>
              </a:ext>
            </a:extLst>
          </p:cNvPr>
          <p:cNvPicPr>
            <a:picLocks noChangeAspect="1"/>
          </p:cNvPicPr>
          <p:nvPr userDrawn="1"/>
        </p:nvPicPr>
        <p:blipFill rotWithShape="1">
          <a:blip r:embed="rId2"/>
          <a:srcRect b="-355"/>
          <a:stretch/>
        </p:blipFill>
        <p:spPr>
          <a:xfrm>
            <a:off x="0" y="0"/>
            <a:ext cx="12192000" cy="6857142"/>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0"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249E8B76-81E5-84EF-8A43-BFD01A769A0A}"/>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8513113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2488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283573420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mn-lt"/>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45A95D72-0AD2-42E5-9054-0780F1FB770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0706537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mn-lt"/>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mn-lt"/>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Open Sans" panose="020B0606030504020204" pitchFamily="34" charset="0"/>
                <a:ea typeface="Open Sans" panose="020B0606030504020204" pitchFamily="34" charset="0"/>
                <a:cs typeface="Open Sans" panose="020B06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more than 20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9" name="Rectangle 8">
            <a:extLst>
              <a:ext uri="{FF2B5EF4-FFF2-40B4-BE49-F238E27FC236}">
                <a16:creationId xmlns:a16="http://schemas.microsoft.com/office/drawing/2014/main" id="{1ADB8F5A-80D4-EEEC-E4B4-613E4088444D}"/>
              </a:ext>
            </a:extLst>
          </p:cNvPr>
          <p:cNvSpPr/>
          <p:nvPr userDrawn="1"/>
        </p:nvSpPr>
        <p:spPr>
          <a:xfrm>
            <a:off x="9787281" y="4140246"/>
            <a:ext cx="309700"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a:t>
            </a:r>
          </a:p>
        </p:txBody>
      </p:sp>
      <p:pic>
        <p:nvPicPr>
          <p:cNvPr id="11" name="Picture 10" descr="A white x on a black background&#10;&#10;Description automatically generated">
            <a:extLst>
              <a:ext uri="{FF2B5EF4-FFF2-40B4-BE49-F238E27FC236}">
                <a16:creationId xmlns:a16="http://schemas.microsoft.com/office/drawing/2014/main" id="{6EF965D2-61BB-5701-E7CB-2D0477B53D06}"/>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400462438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Image on left with no text box">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Tree>
    <p:extLst>
      <p:ext uri="{BB962C8B-B14F-4D97-AF65-F5344CB8AC3E}">
        <p14:creationId xmlns:p14="http://schemas.microsoft.com/office/powerpoint/2010/main" val="3557571109"/>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475994-C175-B21E-E73E-51F1EBBB144E}"/>
              </a:ext>
            </a:extLst>
          </p:cNvPr>
          <p:cNvSpPr>
            <a:spLocks noGrp="1"/>
          </p:cNvSpPr>
          <p:nvPr>
            <p:ph type="pic" sz="quarter" idx="17"/>
          </p:nvPr>
        </p:nvSpPr>
        <p:spPr>
          <a:xfrm>
            <a:off x="6245352" y="0"/>
            <a:ext cx="5943600" cy="2286000"/>
          </a:xfrm>
          <a:custGeom>
            <a:avLst/>
            <a:gdLst>
              <a:gd name="connsiteX0" fmla="*/ 0 w 5943600"/>
              <a:gd name="connsiteY0" fmla="*/ 0 h 2286000"/>
              <a:gd name="connsiteX1" fmla="*/ 5943600 w 5943600"/>
              <a:gd name="connsiteY1" fmla="*/ 0 h 2286000"/>
              <a:gd name="connsiteX2" fmla="*/ 5943600 w 5943600"/>
              <a:gd name="connsiteY2" fmla="*/ 2286000 h 2286000"/>
              <a:gd name="connsiteX3" fmla="*/ 0 w 5943600"/>
              <a:gd name="connsiteY3" fmla="*/ 2286000 h 2286000"/>
              <a:gd name="connsiteX4" fmla="*/ 0 w 5943600"/>
              <a:gd name="connsiteY4" fmla="*/ 0 h 2286000"/>
              <a:gd name="connsiteX0" fmla="*/ 0 w 5943600"/>
              <a:gd name="connsiteY0" fmla="*/ 0 h 2286000"/>
              <a:gd name="connsiteX1" fmla="*/ 5943600 w 5943600"/>
              <a:gd name="connsiteY1" fmla="*/ 0 h 2286000"/>
              <a:gd name="connsiteX2" fmla="*/ 5943600 w 5943600"/>
              <a:gd name="connsiteY2" fmla="*/ 2286000 h 2286000"/>
              <a:gd name="connsiteX3" fmla="*/ 1658679 w 5943600"/>
              <a:gd name="connsiteY3" fmla="*/ 2286000 h 2286000"/>
              <a:gd name="connsiteX4" fmla="*/ 0 w 59436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3600" h="2286000">
                <a:moveTo>
                  <a:pt x="0" y="0"/>
                </a:moveTo>
                <a:lnTo>
                  <a:pt x="5943600" y="0"/>
                </a:lnTo>
                <a:lnTo>
                  <a:pt x="5943600" y="2286000"/>
                </a:lnTo>
                <a:lnTo>
                  <a:pt x="1658679" y="2286000"/>
                </a:lnTo>
                <a:lnTo>
                  <a:pt x="0" y="0"/>
                </a:lnTo>
                <a:close/>
              </a:path>
            </a:pathLst>
          </a:custGeom>
          <a:solidFill>
            <a:schemeClr val="bg1">
              <a:lumMod val="95000"/>
            </a:schemeClr>
          </a:solidFill>
        </p:spPr>
        <p:txBody>
          <a:bodyPr anchor="ctr"/>
          <a:lstStyle>
            <a:lvl1pPr marL="0" indent="0" algn="ctr">
              <a:buNone/>
              <a:defRPr>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cxnSp>
        <p:nvCxnSpPr>
          <p:cNvPr id="6" name="Straight Connector 5">
            <a:extLst>
              <a:ext uri="{FF2B5EF4-FFF2-40B4-BE49-F238E27FC236}">
                <a16:creationId xmlns:a16="http://schemas.microsoft.com/office/drawing/2014/main" id="{8476BFA1-1DD2-5D42-ED21-A389E40D1454}"/>
              </a:ext>
            </a:extLst>
          </p:cNvPr>
          <p:cNvCxnSpPr/>
          <p:nvPr userDrawn="1"/>
        </p:nvCxnSpPr>
        <p:spPr>
          <a:xfrm>
            <a:off x="520965" y="1680459"/>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10">
            <a:extLst>
              <a:ext uri="{FF2B5EF4-FFF2-40B4-BE49-F238E27FC236}">
                <a16:creationId xmlns:a16="http://schemas.microsoft.com/office/drawing/2014/main" id="{8976793E-7EDF-7167-4617-A640198A903F}"/>
              </a:ext>
            </a:extLst>
          </p:cNvPr>
          <p:cNvSpPr>
            <a:spLocks noGrp="1"/>
          </p:cNvSpPr>
          <p:nvPr>
            <p:ph type="body" sz="quarter" idx="15" hasCustomPrompt="1"/>
          </p:nvPr>
        </p:nvSpPr>
        <p:spPr>
          <a:xfrm>
            <a:off x="390331" y="596516"/>
            <a:ext cx="6315269" cy="502920"/>
          </a:xfrm>
          <a:prstGeom prst="rect">
            <a:avLst/>
          </a:prstGeom>
        </p:spPr>
        <p:txBody>
          <a:bodyPr anchor="ctr">
            <a:noAutofit/>
          </a:bodyPr>
          <a:lstStyle>
            <a:lvl1pPr marL="0" indent="0" algn="l">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8" name="Text Placeholder 2">
            <a:extLst>
              <a:ext uri="{FF2B5EF4-FFF2-40B4-BE49-F238E27FC236}">
                <a16:creationId xmlns:a16="http://schemas.microsoft.com/office/drawing/2014/main" id="{BCBC7445-9257-28C0-CFED-CC840DD6EFD2}"/>
              </a:ext>
            </a:extLst>
          </p:cNvPr>
          <p:cNvSpPr>
            <a:spLocks noGrp="1"/>
          </p:cNvSpPr>
          <p:nvPr>
            <p:ph type="body" sz="quarter" idx="16" hasCustomPrompt="1"/>
          </p:nvPr>
        </p:nvSpPr>
        <p:spPr>
          <a:xfrm>
            <a:off x="390331" y="2011680"/>
            <a:ext cx="6626289" cy="274320"/>
          </a:xfrm>
          <a:prstGeom prst="rect">
            <a:avLst/>
          </a:prstGeom>
        </p:spPr>
        <p:txBody>
          <a:bodyPr anchor="ctr">
            <a:noAutofit/>
          </a:bodyPr>
          <a:lstStyle>
            <a:lvl1pPr marL="0" indent="0" algn="l">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2112641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57604DA-6B74-67C6-FD5E-E5D121E33189}"/>
              </a:ext>
            </a:extLst>
          </p:cNvPr>
          <p:cNvSpPr>
            <a:spLocks noGrp="1"/>
          </p:cNvSpPr>
          <p:nvPr>
            <p:ph type="pic" sz="quarter" idx="10" hasCustomPrompt="1"/>
          </p:nvPr>
        </p:nvSpPr>
        <p:spPr>
          <a:xfrm>
            <a:off x="6099110" y="0"/>
            <a:ext cx="6092890" cy="2295331"/>
          </a:xfrm>
          <a:custGeom>
            <a:avLst/>
            <a:gdLst>
              <a:gd name="connsiteX0" fmla="*/ 0 w 5486400"/>
              <a:gd name="connsiteY0" fmla="*/ 0 h 2286000"/>
              <a:gd name="connsiteX1" fmla="*/ 5486400 w 5486400"/>
              <a:gd name="connsiteY1" fmla="*/ 0 h 2286000"/>
              <a:gd name="connsiteX2" fmla="*/ 5486400 w 5486400"/>
              <a:gd name="connsiteY2" fmla="*/ 2286000 h 2286000"/>
              <a:gd name="connsiteX3" fmla="*/ 0 w 5486400"/>
              <a:gd name="connsiteY3" fmla="*/ 2286000 h 2286000"/>
              <a:gd name="connsiteX4" fmla="*/ 0 w 5486400"/>
              <a:gd name="connsiteY4" fmla="*/ 0 h 2286000"/>
              <a:gd name="connsiteX0" fmla="*/ 0 w 5486400"/>
              <a:gd name="connsiteY0" fmla="*/ 0 h 2286000"/>
              <a:gd name="connsiteX1" fmla="*/ 5486400 w 5486400"/>
              <a:gd name="connsiteY1" fmla="*/ 0 h 2286000"/>
              <a:gd name="connsiteX2" fmla="*/ 5486400 w 5486400"/>
              <a:gd name="connsiteY2" fmla="*/ 2286000 h 2286000"/>
              <a:gd name="connsiteX3" fmla="*/ 1679510 w 5486400"/>
              <a:gd name="connsiteY3" fmla="*/ 2276670 h 2286000"/>
              <a:gd name="connsiteX4" fmla="*/ 0 w 5486400"/>
              <a:gd name="connsiteY4" fmla="*/ 0 h 2286000"/>
              <a:gd name="connsiteX0" fmla="*/ 0 w 6092890"/>
              <a:gd name="connsiteY0" fmla="*/ 0 h 2295331"/>
              <a:gd name="connsiteX1" fmla="*/ 6092890 w 6092890"/>
              <a:gd name="connsiteY1" fmla="*/ 9331 h 2295331"/>
              <a:gd name="connsiteX2" fmla="*/ 6092890 w 6092890"/>
              <a:gd name="connsiteY2" fmla="*/ 2295331 h 2295331"/>
              <a:gd name="connsiteX3" fmla="*/ 2286000 w 6092890"/>
              <a:gd name="connsiteY3" fmla="*/ 2286001 h 2295331"/>
              <a:gd name="connsiteX4" fmla="*/ 0 w 6092890"/>
              <a:gd name="connsiteY4" fmla="*/ 0 h 2295331"/>
              <a:gd name="connsiteX0" fmla="*/ 0 w 6092890"/>
              <a:gd name="connsiteY0" fmla="*/ 0 h 2295331"/>
              <a:gd name="connsiteX1" fmla="*/ 6092890 w 6092890"/>
              <a:gd name="connsiteY1" fmla="*/ 9331 h 2295331"/>
              <a:gd name="connsiteX2" fmla="*/ 6092890 w 6092890"/>
              <a:gd name="connsiteY2" fmla="*/ 2295331 h 2295331"/>
              <a:gd name="connsiteX3" fmla="*/ 1791477 w 6092890"/>
              <a:gd name="connsiteY3" fmla="*/ 2286001 h 2295331"/>
              <a:gd name="connsiteX4" fmla="*/ 0 w 6092890"/>
              <a:gd name="connsiteY4" fmla="*/ 0 h 22953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2890" h="2295331">
                <a:moveTo>
                  <a:pt x="0" y="0"/>
                </a:moveTo>
                <a:lnTo>
                  <a:pt x="6092890" y="9331"/>
                </a:lnTo>
                <a:lnTo>
                  <a:pt x="6092890" y="2295331"/>
                </a:lnTo>
                <a:lnTo>
                  <a:pt x="1791477" y="2286001"/>
                </a:lnTo>
                <a:lnTo>
                  <a:pt x="0" y="0"/>
                </a:lnTo>
                <a:close/>
              </a:path>
            </a:pathLst>
          </a:custGeom>
          <a:solidFill>
            <a:schemeClr val="bg1">
              <a:lumMod val="95000"/>
            </a:schemeClr>
          </a:solidFill>
        </p:spPr>
        <p:txBody>
          <a:bodyPr anchor="ctr"/>
          <a:lstStyle>
            <a:lvl1pPr marL="0" indent="0" algn="ctr">
              <a:buNone/>
              <a:defRPr>
                <a:solidFill>
                  <a:schemeClr val="tx2"/>
                </a:solidFill>
              </a:defRPr>
            </a:lvl1pPr>
          </a:lstStyle>
          <a:p>
            <a:r>
              <a:rPr lang="en-US" dirty="0"/>
              <a:t>PICTURE</a:t>
            </a:r>
          </a:p>
        </p:txBody>
      </p:sp>
      <p:cxnSp>
        <p:nvCxnSpPr>
          <p:cNvPr id="6" name="Straight Connector 5">
            <a:extLst>
              <a:ext uri="{FF2B5EF4-FFF2-40B4-BE49-F238E27FC236}">
                <a16:creationId xmlns:a16="http://schemas.microsoft.com/office/drawing/2014/main" id="{8476BFA1-1DD2-5D42-ED21-A389E40D1454}"/>
              </a:ext>
            </a:extLst>
          </p:cNvPr>
          <p:cNvCxnSpPr/>
          <p:nvPr userDrawn="1"/>
        </p:nvCxnSpPr>
        <p:spPr>
          <a:xfrm>
            <a:off x="520965" y="1680459"/>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10">
            <a:extLst>
              <a:ext uri="{FF2B5EF4-FFF2-40B4-BE49-F238E27FC236}">
                <a16:creationId xmlns:a16="http://schemas.microsoft.com/office/drawing/2014/main" id="{8976793E-7EDF-7167-4617-A640198A903F}"/>
              </a:ext>
            </a:extLst>
          </p:cNvPr>
          <p:cNvSpPr>
            <a:spLocks noGrp="1"/>
          </p:cNvSpPr>
          <p:nvPr>
            <p:ph type="body" sz="quarter" idx="15" hasCustomPrompt="1"/>
          </p:nvPr>
        </p:nvSpPr>
        <p:spPr>
          <a:xfrm>
            <a:off x="390331" y="596516"/>
            <a:ext cx="6315269" cy="502920"/>
          </a:xfrm>
          <a:prstGeom prst="rect">
            <a:avLst/>
          </a:prstGeom>
        </p:spPr>
        <p:txBody>
          <a:bodyPr anchor="ctr">
            <a:noAutofit/>
          </a:bodyPr>
          <a:lstStyle>
            <a:lvl1pPr marL="0" indent="0" algn="l">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8" name="Text Placeholder 2">
            <a:extLst>
              <a:ext uri="{FF2B5EF4-FFF2-40B4-BE49-F238E27FC236}">
                <a16:creationId xmlns:a16="http://schemas.microsoft.com/office/drawing/2014/main" id="{BCBC7445-9257-28C0-CFED-CC840DD6EFD2}"/>
              </a:ext>
            </a:extLst>
          </p:cNvPr>
          <p:cNvSpPr>
            <a:spLocks noGrp="1"/>
          </p:cNvSpPr>
          <p:nvPr>
            <p:ph type="body" sz="quarter" idx="16" hasCustomPrompt="1"/>
          </p:nvPr>
        </p:nvSpPr>
        <p:spPr>
          <a:xfrm>
            <a:off x="390331" y="2011680"/>
            <a:ext cx="6626289" cy="274320"/>
          </a:xfrm>
          <a:prstGeom prst="rect">
            <a:avLst/>
          </a:prstGeom>
        </p:spPr>
        <p:txBody>
          <a:bodyPr anchor="ctr">
            <a:noAutofit/>
          </a:bodyPr>
          <a:lstStyle>
            <a:lvl1pPr marL="0" indent="0" algn="l">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928487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wo attorney mini bios">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3904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440260"/>
            <a:ext cx="5486400" cy="274320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s mini bio; include the most relevant experience related to the client/opportunity</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096000" y="3440260"/>
            <a:ext cx="5486400" cy="274320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s mini bio; include the most relevant experience related to the client/opportunity</a:t>
            </a:r>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096000"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0">
            <a:extLst>
              <a:ext uri="{FF2B5EF4-FFF2-40B4-BE49-F238E27FC236}">
                <a16:creationId xmlns:a16="http://schemas.microsoft.com/office/drawing/2014/main" id="{FE8BF5DF-F438-4C13-B4ED-011B9F9F76B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29" name="Text Placeholder 2">
            <a:extLst>
              <a:ext uri="{FF2B5EF4-FFF2-40B4-BE49-F238E27FC236}">
                <a16:creationId xmlns:a16="http://schemas.microsoft.com/office/drawing/2014/main" id="{A360920F-5451-49BE-8E1E-EDAF4C3681E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3" name="Text Placeholder 2">
            <a:extLst>
              <a:ext uri="{FF2B5EF4-FFF2-40B4-BE49-F238E27FC236}">
                <a16:creationId xmlns:a16="http://schemas.microsoft.com/office/drawing/2014/main" id="{0AA4D330-DB7F-466E-8606-B1CB343D9B75}"/>
              </a:ext>
            </a:extLst>
          </p:cNvPr>
          <p:cNvSpPr>
            <a:spLocks noGrp="1"/>
          </p:cNvSpPr>
          <p:nvPr>
            <p:ph type="body" sz="quarter" idx="71" hasCustomPrompt="1"/>
          </p:nvPr>
        </p:nvSpPr>
        <p:spPr>
          <a:xfrm>
            <a:off x="1944908" y="1616304"/>
            <a:ext cx="3931920" cy="1371600"/>
          </a:xfrm>
          <a:prstGeom prst="rect">
            <a:avLst/>
          </a:prstGeom>
        </p:spPr>
        <p:txBody>
          <a:bodyPr/>
          <a:lstStyle>
            <a:lvl1pPr marL="0" indent="0">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Attorney Name</a:t>
            </a:r>
            <a:br>
              <a:rPr lang="en-US" dirty="0"/>
            </a:br>
            <a:r>
              <a:rPr lang="en-US" dirty="0"/>
              <a:t>Title</a:t>
            </a:r>
            <a:br>
              <a:rPr lang="en-US" dirty="0"/>
            </a:br>
            <a:r>
              <a:rPr lang="en-US" dirty="0"/>
              <a:t>Office</a:t>
            </a:r>
            <a:br>
              <a:rPr lang="en-US" dirty="0"/>
            </a:br>
            <a:r>
              <a:rPr lang="en-US" dirty="0"/>
              <a:t>Phone</a:t>
            </a:r>
            <a:br>
              <a:rPr lang="en-US" dirty="0"/>
            </a:br>
            <a:r>
              <a:rPr lang="en-US" dirty="0"/>
              <a:t>Email</a:t>
            </a:r>
          </a:p>
        </p:txBody>
      </p:sp>
      <p:sp>
        <p:nvSpPr>
          <p:cNvPr id="15" name="Text Placeholder 2">
            <a:extLst>
              <a:ext uri="{FF2B5EF4-FFF2-40B4-BE49-F238E27FC236}">
                <a16:creationId xmlns:a16="http://schemas.microsoft.com/office/drawing/2014/main" id="{1595DD16-BB7F-4423-95FD-FEBAAF6041F5}"/>
              </a:ext>
            </a:extLst>
          </p:cNvPr>
          <p:cNvSpPr>
            <a:spLocks noGrp="1"/>
          </p:cNvSpPr>
          <p:nvPr>
            <p:ph type="body" sz="quarter" idx="72" hasCustomPrompt="1"/>
          </p:nvPr>
        </p:nvSpPr>
        <p:spPr>
          <a:xfrm>
            <a:off x="7650480" y="1616304"/>
            <a:ext cx="3931920" cy="1371600"/>
          </a:xfrm>
          <a:prstGeom prst="rect">
            <a:avLst/>
          </a:prstGeom>
        </p:spPr>
        <p:txBody>
          <a:bodyPr/>
          <a:lstStyle>
            <a:lvl1pPr marL="0" indent="0">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Attorney Name</a:t>
            </a:r>
            <a:br>
              <a:rPr lang="en-US" dirty="0"/>
            </a:br>
            <a:r>
              <a:rPr lang="en-US" dirty="0"/>
              <a:t>Title</a:t>
            </a:r>
            <a:br>
              <a:rPr lang="en-US" dirty="0"/>
            </a:br>
            <a:r>
              <a:rPr lang="en-US" dirty="0"/>
              <a:t>Office</a:t>
            </a:r>
            <a:br>
              <a:rPr lang="en-US" dirty="0"/>
            </a:br>
            <a:r>
              <a:rPr lang="en-US" dirty="0"/>
              <a:t>Phone</a:t>
            </a:r>
            <a:br>
              <a:rPr lang="en-US" dirty="0"/>
            </a:br>
            <a:r>
              <a:rPr lang="en-US" dirty="0"/>
              <a:t>Email</a:t>
            </a:r>
          </a:p>
        </p:txBody>
      </p:sp>
    </p:spTree>
    <p:extLst>
      <p:ext uri="{BB962C8B-B14F-4D97-AF65-F5344CB8AC3E}">
        <p14:creationId xmlns:p14="http://schemas.microsoft.com/office/powerpoint/2010/main" val="36221671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7D2E1-9828-1EC2-F211-49DA54ECCF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844E8FC-CD18-F84E-960D-C7CF8542BC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3521EA5-70CC-DC96-B8B1-803D93B00F38}"/>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5" name="Footer Placeholder 4">
            <a:extLst>
              <a:ext uri="{FF2B5EF4-FFF2-40B4-BE49-F238E27FC236}">
                <a16:creationId xmlns:a16="http://schemas.microsoft.com/office/drawing/2014/main" id="{487005AE-FF5B-02BE-C57F-AE3BBCFCF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88F8AB-E45F-452A-1B84-CCBC4B1DB428}"/>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373166390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F8356-55A6-918B-9853-E9626467F61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91B3D7-0A25-CB52-122C-5DF467846A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89EFC0-4355-7CC4-7C36-70D81854FE17}"/>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5" name="Footer Placeholder 4">
            <a:extLst>
              <a:ext uri="{FF2B5EF4-FFF2-40B4-BE49-F238E27FC236}">
                <a16:creationId xmlns:a16="http://schemas.microsoft.com/office/drawing/2014/main" id="{47E6672D-C24A-3C99-A042-280388D650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5BD7B5-5BA1-D3C2-8375-8EA221ADBE53}"/>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98533303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BA4180-C42A-81C6-5E94-FD6CC81A99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655F05E-97F3-6CC9-A012-C8BBA03A68F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3FF423F-8C10-C608-E402-9DB1DDF33E1C}"/>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5" name="Footer Placeholder 4">
            <a:extLst>
              <a:ext uri="{FF2B5EF4-FFF2-40B4-BE49-F238E27FC236}">
                <a16:creationId xmlns:a16="http://schemas.microsoft.com/office/drawing/2014/main" id="{364D19E7-7AFE-C324-397B-E83CD9B774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EACCA00-12A8-D521-1611-D09AB5E19D6D}"/>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2403767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accent5"/>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B422343-799B-4C5D-AE9C-F027E8B977CC}"/>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3" name="Picture 2">
            <a:extLst>
              <a:ext uri="{FF2B5EF4-FFF2-40B4-BE49-F238E27FC236}">
                <a16:creationId xmlns:a16="http://schemas.microsoft.com/office/drawing/2014/main" id="{DA947AD3-920D-4DBA-BF4A-62CC94DA84B4}"/>
              </a:ext>
            </a:extLst>
          </p:cNvPr>
          <p:cNvPicPr>
            <a:picLocks noChangeAspect="1"/>
          </p:cNvPicPr>
          <p:nvPr userDrawn="1"/>
        </p:nvPicPr>
        <p:blipFill>
          <a:blip r:embed="rId2"/>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74847773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084BB-CD1F-892B-6FEF-C85B748250C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EF8CD7-7D9C-02C1-D6D7-6817AB53FE6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292199E-0C83-85A6-2B70-AC982E332D0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95203E6-286F-CB7A-FBC5-92608402E9E9}"/>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6" name="Footer Placeholder 5">
            <a:extLst>
              <a:ext uri="{FF2B5EF4-FFF2-40B4-BE49-F238E27FC236}">
                <a16:creationId xmlns:a16="http://schemas.microsoft.com/office/drawing/2014/main" id="{57A1554C-355C-F473-F2FF-236343B868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8E01F2-66DB-6028-45B6-039ECD9A45FD}"/>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121070786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762832-5F89-862D-22CB-F9D4ACD3D25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6A7E20-3317-6306-99E7-7B0893F77F9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08B9E3-17E7-BF7C-B155-BFC5EB45B1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8785315-B6D1-7362-1DB4-DFCF0506DED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B697390-C81D-6A60-BA24-3D92EFFA0D4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32DF927-7050-EC49-A0BA-915CDE605DE7}"/>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8" name="Footer Placeholder 7">
            <a:extLst>
              <a:ext uri="{FF2B5EF4-FFF2-40B4-BE49-F238E27FC236}">
                <a16:creationId xmlns:a16="http://schemas.microsoft.com/office/drawing/2014/main" id="{3AB6B0DF-D212-5A4D-AA0A-564B0B9464A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E0C7E57-789D-3756-676D-C8E87510B665}"/>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33341702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D0786-309A-8A92-437A-3E3A38C0676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D914EB8-ADC5-772E-F5B4-DF16B724F717}"/>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4" name="Footer Placeholder 3">
            <a:extLst>
              <a:ext uri="{FF2B5EF4-FFF2-40B4-BE49-F238E27FC236}">
                <a16:creationId xmlns:a16="http://schemas.microsoft.com/office/drawing/2014/main" id="{60FCB775-7CF1-CE04-F9BC-3C0F4C3B15F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886E86C-19D2-98D7-00DD-D4944BA880C3}"/>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69900139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DCE9F4-0B89-CC89-EF8B-9B0CE5F95292}"/>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3" name="Footer Placeholder 2">
            <a:extLst>
              <a:ext uri="{FF2B5EF4-FFF2-40B4-BE49-F238E27FC236}">
                <a16:creationId xmlns:a16="http://schemas.microsoft.com/office/drawing/2014/main" id="{8D83B81B-40C2-577A-C836-629E7A8F8B6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5BBB08C-9E3E-CDAF-3591-CF217796FD30}"/>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290518052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5C098-7CDF-367E-0545-A33E7DBB73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83BDD97-D0B6-E243-1D73-7FA92B6AD9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2DB93AF-1308-D3D6-C2C8-1EDBA3BA6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08636E6-E58B-C8F9-EC71-5DA2A857E812}"/>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6" name="Footer Placeholder 5">
            <a:extLst>
              <a:ext uri="{FF2B5EF4-FFF2-40B4-BE49-F238E27FC236}">
                <a16:creationId xmlns:a16="http://schemas.microsoft.com/office/drawing/2014/main" id="{0C6E4B42-B504-7FDE-9EFF-EC44E85F209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A8C889-79D2-D1FD-8A9E-3D76B57BAB94}"/>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6240688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07D89-B479-E773-3240-6BE2A219274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D86E856-FC1B-4492-552F-E153ABD434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DA6E77C-B6DB-E8EE-0FE4-42D16FE98ED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A105A14-043F-6216-3872-A54AA8C769ED}"/>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6" name="Footer Placeholder 5">
            <a:extLst>
              <a:ext uri="{FF2B5EF4-FFF2-40B4-BE49-F238E27FC236}">
                <a16:creationId xmlns:a16="http://schemas.microsoft.com/office/drawing/2014/main" id="{69797BCE-9C17-8228-200A-79CD3EF23C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F00E89-B9DE-7403-CB50-CF4F2BB62F9A}"/>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25092320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30529B-C84A-4A53-50A1-0EBAEDFFB4A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34BE9B5-4085-D980-A0FC-D0449721821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331BB0-8F8F-FA2A-2196-5858C9364155}"/>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5" name="Footer Placeholder 4">
            <a:extLst>
              <a:ext uri="{FF2B5EF4-FFF2-40B4-BE49-F238E27FC236}">
                <a16:creationId xmlns:a16="http://schemas.microsoft.com/office/drawing/2014/main" id="{6DAB7B33-E14B-A2AF-07AF-F01B6278A6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D596E6-6BA9-9282-1A9D-AB645A0C05BC}"/>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18233278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137E0C0-3227-E399-AAD7-70C435BF5E0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212E3E-1EF8-F31F-0A80-4E5D1F1D036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2ECC8E-A61A-B718-96E0-44BCADDD1BD3}"/>
              </a:ext>
            </a:extLst>
          </p:cNvPr>
          <p:cNvSpPr>
            <a:spLocks noGrp="1"/>
          </p:cNvSpPr>
          <p:nvPr>
            <p:ph type="dt" sz="half" idx="10"/>
          </p:nvPr>
        </p:nvSpPr>
        <p:spPr/>
        <p:txBody>
          <a:bodyPr/>
          <a:lstStyle/>
          <a:p>
            <a:fld id="{A039D709-C6A1-4684-8C51-DE607E357847}" type="datetimeFigureOut">
              <a:rPr lang="en-US" smtClean="0"/>
              <a:t>4/21/2025</a:t>
            </a:fld>
            <a:endParaRPr lang="en-US"/>
          </a:p>
        </p:txBody>
      </p:sp>
      <p:sp>
        <p:nvSpPr>
          <p:cNvPr id="5" name="Footer Placeholder 4">
            <a:extLst>
              <a:ext uri="{FF2B5EF4-FFF2-40B4-BE49-F238E27FC236}">
                <a16:creationId xmlns:a16="http://schemas.microsoft.com/office/drawing/2014/main" id="{0855F987-3B7F-9C72-323F-69C05CD962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A1FD46-6918-216B-67D7-2F79DB1F97CB}"/>
              </a:ext>
            </a:extLst>
          </p:cNvPr>
          <p:cNvSpPr>
            <a:spLocks noGrp="1"/>
          </p:cNvSpPr>
          <p:nvPr>
            <p:ph type="sldNum" sz="quarter" idx="12"/>
          </p:nvPr>
        </p:nvSpPr>
        <p:spPr/>
        <p:txBody>
          <a:bodyPr/>
          <a:lstStyle/>
          <a:p>
            <a:fld id="{F5CDD2D8-CAC9-4805-B219-F76E32930F23}" type="slidenum">
              <a:rPr lang="en-US" smtClean="0"/>
              <a:t>‹#›</a:t>
            </a:fld>
            <a:endParaRPr lang="en-US"/>
          </a:p>
        </p:txBody>
      </p:sp>
    </p:spTree>
    <p:extLst>
      <p:ext uri="{BB962C8B-B14F-4D97-AF65-F5344CB8AC3E}">
        <p14:creationId xmlns:p14="http://schemas.microsoft.com/office/powerpoint/2010/main" val="334387823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7021419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TITLE</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70C531CC-6D38-441F-8D0E-FB71B3831ADF}"/>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5528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21877148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defRPr>
            </a:lvl1pPr>
          </a:lstStyle>
          <a:p>
            <a:endParaRPr lang="en-US" dirty="0"/>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ts val="0"/>
              </a:spcBef>
              <a:buNone/>
              <a:defRPr sz="1400">
                <a:solidFill>
                  <a:schemeClr val="bg1"/>
                </a:solidFill>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065152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ADBE6524-3BC5-43DF-AA3E-BCDB1560C18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62055701"/>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p:nvSpPr>
        <p:spPr bwMode="auto">
          <a:xfrm>
            <a:off x="1075884" y="1613180"/>
            <a:ext cx="1004024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Open Sans Light" charset="0"/>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p:nvSpPr>
        <p:spPr>
          <a:xfrm>
            <a:off x="1573691" y="4140246"/>
            <a:ext cx="1042273"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p:nvSpPr>
        <p:spPr>
          <a:xfrm>
            <a:off x="381000" y="5794258"/>
            <a:ext cx="11430000" cy="693651"/>
          </a:xfrm>
          <a:prstGeom prst="rect">
            <a:avLst/>
          </a:prstGeom>
          <a:noFill/>
        </p:spPr>
        <p:txBody>
          <a:bodyPr wrap="square" rtlCol="0">
            <a:spAutoFit/>
          </a:bodyPr>
          <a:lstStyle/>
          <a:p>
            <a:pPr algn="ctr">
              <a:lnSpc>
                <a:spcPts val="1620"/>
              </a:lnSpc>
            </a:pP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a:t>
            </a:r>
            <a:b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b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wide range of legal needs. Clients receive knowledgeable guidance from experienced, multi-disciplined industry and client service teams, all seamlessly connected across 21 offices in Alabama, Florida, Georgia, Louisiana, Maryland, Mississippi,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pic>
        <p:nvPicPr>
          <p:cNvPr id="16" name="Graphic 15">
            <a:extLst>
              <a:ext uri="{FF2B5EF4-FFF2-40B4-BE49-F238E27FC236}">
                <a16:creationId xmlns:a16="http://schemas.microsoft.com/office/drawing/2014/main" id="{16702A56-F8BD-4883-868A-BF99C0595C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65906" y="3510046"/>
            <a:ext cx="552450" cy="552450"/>
          </a:xfrm>
          <a:prstGeom prst="rect">
            <a:avLst/>
          </a:prstGeom>
        </p:spPr>
      </p:pic>
      <p:sp>
        <p:nvSpPr>
          <p:cNvPr id="19" name="Rectangle 18">
            <a:extLst>
              <a:ext uri="{FF2B5EF4-FFF2-40B4-BE49-F238E27FC236}">
                <a16:creationId xmlns:a16="http://schemas.microsoft.com/office/drawing/2014/main" id="{96FC3433-DCBB-4866-ABF7-8B8E191533CF}"/>
              </a:ext>
            </a:extLst>
          </p:cNvPr>
          <p:cNvSpPr/>
          <p:nvPr/>
        </p:nvSpPr>
        <p:spPr>
          <a:xfrm>
            <a:off x="9427631" y="4140246"/>
            <a:ext cx="102900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WITTER</a:t>
            </a:r>
          </a:p>
        </p:txBody>
      </p:sp>
      <p:sp>
        <p:nvSpPr>
          <p:cNvPr id="21" name="Rectangle 20">
            <a:extLst>
              <a:ext uri="{FF2B5EF4-FFF2-40B4-BE49-F238E27FC236}">
                <a16:creationId xmlns:a16="http://schemas.microsoft.com/office/drawing/2014/main" id="{43DE0751-F48A-4E59-91EF-79F744409C3B}"/>
              </a:ext>
            </a:extLst>
          </p:cNvPr>
          <p:cNvSpPr/>
          <p:nvPr/>
        </p:nvSpPr>
        <p:spPr>
          <a:xfrm>
            <a:off x="4158540" y="4140246"/>
            <a:ext cx="1267591"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p:nvSpPr>
        <p:spPr>
          <a:xfrm>
            <a:off x="6674353" y="4140246"/>
            <a:ext cx="112082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58536" y="3514829"/>
            <a:ext cx="552450" cy="552450"/>
          </a:xfrm>
          <a:prstGeom prst="rect">
            <a:avLst/>
          </a:prstGeom>
        </p:spPr>
      </p:pic>
    </p:spTree>
    <p:extLst>
      <p:ext uri="{BB962C8B-B14F-4D97-AF65-F5344CB8AC3E}">
        <p14:creationId xmlns:p14="http://schemas.microsoft.com/office/powerpoint/2010/main" val="172421285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3"/>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27619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6A41164-9E02-42F7-95BC-2C9613F1A08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2</a:t>
            </a:r>
          </a:p>
        </p:txBody>
      </p:sp>
      <p:sp>
        <p:nvSpPr>
          <p:cNvPr id="18" name="Text Placeholder 14">
            <a:extLst>
              <a:ext uri="{FF2B5EF4-FFF2-40B4-BE49-F238E27FC236}">
                <a16:creationId xmlns:a16="http://schemas.microsoft.com/office/drawing/2014/main" id="{E7D0411B-98D2-40EE-A7C9-A6A4CDA8D6AF}"/>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63BFF807-FD44-4F0D-B39A-70F80C78AF6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31C4B28D-0969-490A-B13C-C8EB39316D59}"/>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AE57C29B-D449-4CC7-B381-424636D9EEB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160B9B91-190A-453C-87F6-790E5B769CFF}"/>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068372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9ED853B-3A94-44EA-B306-AED50E58825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3</a:t>
            </a:r>
          </a:p>
        </p:txBody>
      </p:sp>
      <p:sp>
        <p:nvSpPr>
          <p:cNvPr id="18" name="Text Placeholder 14">
            <a:extLst>
              <a:ext uri="{FF2B5EF4-FFF2-40B4-BE49-F238E27FC236}">
                <a16:creationId xmlns:a16="http://schemas.microsoft.com/office/drawing/2014/main" id="{F73FD31C-CD9C-4CD0-AB2B-DBDD2B326B6B}"/>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96044471-19A6-42C7-939C-1CE9DD8B64E7}"/>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2C35F422-844D-4DC9-9E61-566C7E42E30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130FA952-5204-419A-9950-05F23E33D226}"/>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FD155A0D-4442-44E6-97FB-766EA1DA30E9}"/>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112925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2" name="Picture Placeholder 14">
            <a:extLst>
              <a:ext uri="{FF2B5EF4-FFF2-40B4-BE49-F238E27FC236}">
                <a16:creationId xmlns:a16="http://schemas.microsoft.com/office/drawing/2014/main" id="{32686049-FEFC-9B62-EEA2-60D27094C869}"/>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190653D2-C799-4BD0-BB47-2CF40EDD1D68}"/>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2977362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2" name="Picture Placeholder 14">
            <a:extLst>
              <a:ext uri="{FF2B5EF4-FFF2-40B4-BE49-F238E27FC236}">
                <a16:creationId xmlns:a16="http://schemas.microsoft.com/office/drawing/2014/main" id="{EC16CEDE-C199-D294-F846-C853E46E41D2}"/>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D32C6B46-3DF6-47EC-B3F2-3060C58593DE}"/>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2</a:t>
            </a:r>
          </a:p>
        </p:txBody>
      </p:sp>
      <p:sp>
        <p:nvSpPr>
          <p:cNvPr id="14" name="Text Placeholder 14">
            <a:extLst>
              <a:ext uri="{FF2B5EF4-FFF2-40B4-BE49-F238E27FC236}">
                <a16:creationId xmlns:a16="http://schemas.microsoft.com/office/drawing/2014/main" id="{D78622D7-967F-4BBD-80F7-7832321EDD7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1814E0AC-B81B-4FFF-8CF4-9FA15FC030F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13847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BD2952BE-546F-44B6-B989-A67A2CD93029}"/>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3</a:t>
            </a:r>
          </a:p>
        </p:txBody>
      </p:sp>
      <p:sp>
        <p:nvSpPr>
          <p:cNvPr id="14" name="Text Placeholder 14">
            <a:extLst>
              <a:ext uri="{FF2B5EF4-FFF2-40B4-BE49-F238E27FC236}">
                <a16:creationId xmlns:a16="http://schemas.microsoft.com/office/drawing/2014/main" id="{9F14CFA6-52B8-4391-8817-5F25D5FB149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E458DF5E-DBF8-4770-87A9-17AAEAB78BBA}"/>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5326962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8AB1C77E-3414-4616-ADB9-D64EDC212D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676737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070AD663-D889-4037-89BC-9DDFF15D1DA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5" name="Text Placeholder 2">
            <a:extLst>
              <a:ext uri="{FF2B5EF4-FFF2-40B4-BE49-F238E27FC236}">
                <a16:creationId xmlns:a16="http://schemas.microsoft.com/office/drawing/2014/main" id="{0B9E9B49-B612-49B4-A5A1-36BC6852554D}"/>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00765340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5" name="TextBox 7">
            <a:extLst>
              <a:ext uri="{FF2B5EF4-FFF2-40B4-BE49-F238E27FC236}">
                <a16:creationId xmlns:a16="http://schemas.microsoft.com/office/drawing/2014/main" id="{DB81CE39-F44A-4930-BF7D-63EDC9B2DF6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362063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4" name="TextBox 7">
            <a:extLst>
              <a:ext uri="{FF2B5EF4-FFF2-40B4-BE49-F238E27FC236}">
                <a16:creationId xmlns:a16="http://schemas.microsoft.com/office/drawing/2014/main" id="{2355CB8C-9D42-4F46-82EC-1E66DC4898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040739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0DDEB31F-9812-4AEF-9BC4-F114E4F44AE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C3B3A4EB-F305-4422-8C88-870CCE545DA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9" name="TextBox 7">
            <a:extLst>
              <a:ext uri="{FF2B5EF4-FFF2-40B4-BE49-F238E27FC236}">
                <a16:creationId xmlns:a16="http://schemas.microsoft.com/office/drawing/2014/main" id="{BD334408-F23F-41A5-A163-45832F857BB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6317231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E6E1CA2-79C1-44AA-9FC4-E6D5E7D66008}"/>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106964BD-D71E-4A3F-B632-C9E03B50902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Content Placeholder 7">
            <a:extLst>
              <a:ext uri="{FF2B5EF4-FFF2-40B4-BE49-F238E27FC236}">
                <a16:creationId xmlns:a16="http://schemas.microsoft.com/office/drawing/2014/main" id="{6909E8B4-0FDA-4BE0-A6B5-B9E776E54545}"/>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Box 7">
            <a:extLst>
              <a:ext uri="{FF2B5EF4-FFF2-40B4-BE49-F238E27FC236}">
                <a16:creationId xmlns:a16="http://schemas.microsoft.com/office/drawing/2014/main" id="{7B85B167-FB62-46A9-AA57-2DD08B356ED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2140013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85BFC132-57B9-42E2-BA12-31465A62946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945CB1CF-317F-47A9-8053-F75230B126F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1" name="TextBox 7">
            <a:extLst>
              <a:ext uri="{FF2B5EF4-FFF2-40B4-BE49-F238E27FC236}">
                <a16:creationId xmlns:a16="http://schemas.microsoft.com/office/drawing/2014/main" id="{6C21E214-53D6-4916-B77A-B291A2BBF35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4963285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C470888C-046E-444E-9E59-31BC29B30B43}"/>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69378B1D-0275-4D38-B4ED-AA70E6BD665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0" name="Text Placeholder 2">
            <a:extLst>
              <a:ext uri="{FF2B5EF4-FFF2-40B4-BE49-F238E27FC236}">
                <a16:creationId xmlns:a16="http://schemas.microsoft.com/office/drawing/2014/main" id="{95903ABA-BB0D-46C1-A585-F9B3FBD8B0D8}"/>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2">
            <a:extLst>
              <a:ext uri="{FF2B5EF4-FFF2-40B4-BE49-F238E27FC236}">
                <a16:creationId xmlns:a16="http://schemas.microsoft.com/office/drawing/2014/main" id="{F984307E-FDAC-4ACF-AF2D-5C61ED6D22BB}"/>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TextBox 7">
            <a:extLst>
              <a:ext uri="{FF2B5EF4-FFF2-40B4-BE49-F238E27FC236}">
                <a16:creationId xmlns:a16="http://schemas.microsoft.com/office/drawing/2014/main" id="{C87EAEFD-8A78-4284-8BCF-C082292B20B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47675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ADBE6524-3BC5-43DF-AA3E-BCDB1560C18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36680813"/>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5410200"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9F3BC239-D05E-4900-A52D-214658C97D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228502730"/>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Box 7">
            <a:extLst>
              <a:ext uri="{FF2B5EF4-FFF2-40B4-BE49-F238E27FC236}">
                <a16:creationId xmlns:a16="http://schemas.microsoft.com/office/drawing/2014/main" id="{2734946C-A4ED-40BE-9016-D51DF99D6FB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912059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Box 7">
            <a:extLst>
              <a:ext uri="{FF2B5EF4-FFF2-40B4-BE49-F238E27FC236}">
                <a16:creationId xmlns:a16="http://schemas.microsoft.com/office/drawing/2014/main" id="{01643D19-1DA1-4AD1-9568-F3978E0B7C2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540979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168E28E3-F228-45F5-A85F-3C2693FCE6F1}"/>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16D82D3F-E316-4696-945D-6C856C82AA76}"/>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2686592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6594DC06-EADF-4EE8-87CA-970BD5752164}"/>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BA5FA02D-1D01-4717-8A07-0FE4B04C382A}"/>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C62D920C-6A3D-4F82-982A-01E2AB9EB655}"/>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0365065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56DB3A4D-4E00-4FB2-86BE-F7227E03641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488D2A12-05B0-4CF7-B940-8931137122B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22" name="TextBox 7">
            <a:extLst>
              <a:ext uri="{FF2B5EF4-FFF2-40B4-BE49-F238E27FC236}">
                <a16:creationId xmlns:a16="http://schemas.microsoft.com/office/drawing/2014/main" id="{7F8AE6C8-D4BF-4C42-9430-223CEA81EC4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4902229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E7A52793-7004-4A92-8A39-44AE2E29582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F6464A6C-F694-4A07-A7AF-B33C19CA41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2B4D0890-7238-4F16-87D5-4DCCE7EE2772}"/>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512570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122169765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mn-lt"/>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45A95D72-0AD2-42E5-9054-0780F1FB770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8224589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mn-lt"/>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mn-lt"/>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mn-lt"/>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3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9" name="Rectangle 8">
            <a:extLst>
              <a:ext uri="{FF2B5EF4-FFF2-40B4-BE49-F238E27FC236}">
                <a16:creationId xmlns:a16="http://schemas.microsoft.com/office/drawing/2014/main" id="{1ADB8F5A-80D4-EEEC-E4B4-613E4088444D}"/>
              </a:ext>
            </a:extLst>
          </p:cNvPr>
          <p:cNvSpPr/>
          <p:nvPr userDrawn="1"/>
        </p:nvSpPr>
        <p:spPr>
          <a:xfrm>
            <a:off x="9252904" y="4140246"/>
            <a:ext cx="137845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11" name="Picture 10" descr="A white x on a black background&#10;&#10;Description automatically generated">
            <a:extLst>
              <a:ext uri="{FF2B5EF4-FFF2-40B4-BE49-F238E27FC236}">
                <a16:creationId xmlns:a16="http://schemas.microsoft.com/office/drawing/2014/main" id="{6EF965D2-61BB-5701-E7CB-2D0477B53D06}"/>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326168686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1_Default Slide">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005085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Master">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48676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9" name="Rectangle 58"/>
          <p:cNvSpPr/>
          <p:nvPr userDrawn="1"/>
        </p:nvSpPr>
        <p:spPr bwMode="white">
          <a:xfrm>
            <a:off x="9854586" y="2465379"/>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a:extLst>
              <a:ext uri="{FF2B5EF4-FFF2-40B4-BE49-F238E27FC236}">
                <a16:creationId xmlns:a16="http://schemas.microsoft.com/office/drawing/2014/main" id="{438876F1-D36D-4BDC-A95B-BF77B1BB35F1}"/>
              </a:ext>
            </a:extLst>
          </p:cNvPr>
          <p:cNvSpPr txBox="1">
            <a:spLocks/>
          </p:cNvSpPr>
          <p:nvPr userDrawn="1"/>
        </p:nvSpPr>
        <p:spPr bwMode="blackWhite">
          <a:xfrm>
            <a:off x="625523" y="2976385"/>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buNone/>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1399206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9866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5" name="Text Placeholder 10">
            <a:extLst>
              <a:ext uri="{FF2B5EF4-FFF2-40B4-BE49-F238E27FC236}">
                <a16:creationId xmlns:a16="http://schemas.microsoft.com/office/drawing/2014/main" id="{F1ABE98F-1210-435A-92FE-9CB606C2BECF}"/>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ACAC7962-C146-4043-9B26-4D9F2AAB036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83124498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936464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F348BF7E-8E6F-450C-B2BC-F3872A10F871}"/>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84700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efaul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478B-85B0-4C3D-AAA8-830F002E3777}"/>
              </a:ext>
            </a:extLst>
          </p:cNvPr>
          <p:cNvSpPr/>
          <p:nvPr/>
        </p:nvSpPr>
        <p:spPr>
          <a:xfrm>
            <a:off x="0" y="0"/>
            <a:ext cx="3761982" cy="6858000"/>
          </a:xfrm>
          <a:prstGeom prst="rect">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AA8B2F94-28C9-4405-AE6B-CD9ED300E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331" y="6421262"/>
            <a:ext cx="2743200" cy="208825"/>
          </a:xfrm>
          <a:prstGeom prst="rect">
            <a:avLst/>
          </a:prstGeom>
        </p:spPr>
      </p:pic>
    </p:spTree>
    <p:extLst>
      <p:ext uri="{BB962C8B-B14F-4D97-AF65-F5344CB8AC3E}">
        <p14:creationId xmlns:p14="http://schemas.microsoft.com/office/powerpoint/2010/main" val="314699293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5_Defaul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478B-85B0-4C3D-AAA8-830F002E3777}"/>
              </a:ext>
            </a:extLst>
          </p:cNvPr>
          <p:cNvSpPr/>
          <p:nvPr/>
        </p:nvSpPr>
        <p:spPr>
          <a:xfrm>
            <a:off x="-1" y="0"/>
            <a:ext cx="4982547" cy="6858000"/>
          </a:xfrm>
          <a:prstGeom prst="rect">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AA8B2F94-28C9-4405-AE6B-CD9ED300E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331" y="6421262"/>
            <a:ext cx="2743200" cy="208825"/>
          </a:xfrm>
          <a:prstGeom prst="rect">
            <a:avLst/>
          </a:prstGeom>
        </p:spPr>
      </p:pic>
      <p:sp>
        <p:nvSpPr>
          <p:cNvPr id="4" name="Isosceles Triangle 3">
            <a:extLst>
              <a:ext uri="{FF2B5EF4-FFF2-40B4-BE49-F238E27FC236}">
                <a16:creationId xmlns:a16="http://schemas.microsoft.com/office/drawing/2014/main" id="{6BD378F8-121A-42EA-A85D-8378398926D1}"/>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2683221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7_Default Slide">
    <p:bg>
      <p:bgPr>
        <a:solidFill>
          <a:schemeClr val="bg1">
            <a:lumMod val="9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B99478B-85B0-4C3D-AAA8-830F002E3777}"/>
              </a:ext>
            </a:extLst>
          </p:cNvPr>
          <p:cNvSpPr/>
          <p:nvPr/>
        </p:nvSpPr>
        <p:spPr>
          <a:xfrm>
            <a:off x="-1" y="0"/>
            <a:ext cx="4982547" cy="6858000"/>
          </a:xfrm>
          <a:prstGeom prst="rect">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3" name="Graphic 2">
            <a:extLst>
              <a:ext uri="{FF2B5EF4-FFF2-40B4-BE49-F238E27FC236}">
                <a16:creationId xmlns:a16="http://schemas.microsoft.com/office/drawing/2014/main" id="{AA8B2F94-28C9-4405-AE6B-CD9ED300E2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90331" y="6421262"/>
            <a:ext cx="2743200" cy="208825"/>
          </a:xfrm>
          <a:prstGeom prst="rect">
            <a:avLst/>
          </a:prstGeom>
        </p:spPr>
      </p:pic>
    </p:spTree>
    <p:extLst>
      <p:ext uri="{BB962C8B-B14F-4D97-AF65-F5344CB8AC3E}">
        <p14:creationId xmlns:p14="http://schemas.microsoft.com/office/powerpoint/2010/main" val="296250151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390706" y="622800"/>
            <a:ext cx="6172643"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Isosceles Triangle 4">
            <a:extLst>
              <a:ext uri="{FF2B5EF4-FFF2-40B4-BE49-F238E27FC236}">
                <a16:creationId xmlns:a16="http://schemas.microsoft.com/office/drawing/2014/main" id="{CCD8661F-3DEB-4E48-9253-694AEFE377A5}"/>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E4B6FA31-AAC3-4FB9-8128-918FAED4C38D}"/>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146279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390706" y="622800"/>
            <a:ext cx="6172643"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46DA901D-8824-4979-AD8E-B30D64A1E77B}"/>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14261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676230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1135" y="622800"/>
            <a:ext cx="3812214"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sp>
        <p:nvSpPr>
          <p:cNvPr id="5" name="Isosceles Triangle 4">
            <a:extLst>
              <a:ext uri="{FF2B5EF4-FFF2-40B4-BE49-F238E27FC236}">
                <a16:creationId xmlns:a16="http://schemas.microsoft.com/office/drawing/2014/main" id="{CCD8661F-3DEB-4E48-9253-694AEFE377A5}"/>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157C9896-8363-42D3-8587-9FBE7378DBF1}"/>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2088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3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676230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accent4"/>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1135" y="622800"/>
            <a:ext cx="3812214"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90331" y="6420575"/>
            <a:ext cx="2743200" cy="208825"/>
          </a:xfrm>
          <a:prstGeom prst="rect">
            <a:avLst/>
          </a:prstGeom>
        </p:spPr>
      </p:pic>
      <p:sp>
        <p:nvSpPr>
          <p:cNvPr id="7" name="Rectangle 6">
            <a:extLst>
              <a:ext uri="{FF2B5EF4-FFF2-40B4-BE49-F238E27FC236}">
                <a16:creationId xmlns:a16="http://schemas.microsoft.com/office/drawing/2014/main" id="{157C9896-8363-42D3-8587-9FBE7378DBF1}"/>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06395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2_Overview with image on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086578-C9A9-400F-BECE-935F00F63FC1}"/>
              </a:ext>
            </a:extLst>
          </p:cNvPr>
          <p:cNvSpPr/>
          <p:nvPr/>
        </p:nvSpPr>
        <p:spPr>
          <a:xfrm>
            <a:off x="0" y="0"/>
            <a:ext cx="7166344" cy="6858000"/>
          </a:xfrm>
          <a:prstGeom prst="rect">
            <a:avLst/>
          </a:prstGeom>
          <a:gradFill>
            <a:gsLst>
              <a:gs pos="0">
                <a:schemeClr val="accent4"/>
              </a:gs>
              <a:gs pos="100000">
                <a:schemeClr val="accent2"/>
              </a:gs>
            </a:gsLst>
            <a:lin ang="8100000" scaled="1"/>
          </a:gra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4829532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C61A827C-DCF5-4569-8F2A-843EA412AD66}"/>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C05A1A97-77CB-4051-B10E-A0B3198480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8971910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263953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4386CD49-D10B-4F20-9649-973DCA541FA9}"/>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phic 9">
            <a:extLst>
              <a:ext uri="{FF2B5EF4-FFF2-40B4-BE49-F238E27FC236}">
                <a16:creationId xmlns:a16="http://schemas.microsoft.com/office/drawing/2014/main" id="{9E2CF8E4-C99D-4DBC-AF8B-F26F8079B74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19994635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sp>
        <p:nvSpPr>
          <p:cNvPr id="14" name="Pentagon 8"/>
          <p:cNvSpPr/>
          <p:nvPr userDrawn="1"/>
        </p:nvSpPr>
        <p:spPr bwMode="white">
          <a:xfrm>
            <a:off x="-1" y="0"/>
            <a:ext cx="854300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0" name="Rectangle 9">
            <a:extLst>
              <a:ext uri="{FF2B5EF4-FFF2-40B4-BE49-F238E27FC236}">
                <a16:creationId xmlns:a16="http://schemas.microsoft.com/office/drawing/2014/main" id="{00325C9F-768F-4707-A915-AC4ECE50846D}"/>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53930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_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grpSp>
        <p:nvGrpSpPr>
          <p:cNvPr id="2" name="Group 1">
            <a:extLst>
              <a:ext uri="{FF2B5EF4-FFF2-40B4-BE49-F238E27FC236}">
                <a16:creationId xmlns:a16="http://schemas.microsoft.com/office/drawing/2014/main" id="{D6B7EF39-1C5E-4A64-AE1B-28544A255880}"/>
              </a:ext>
            </a:extLst>
          </p:cNvPr>
          <p:cNvGrpSpPr/>
          <p:nvPr userDrawn="1"/>
        </p:nvGrpSpPr>
        <p:grpSpPr>
          <a:xfrm>
            <a:off x="0" y="0"/>
            <a:ext cx="4391247" cy="6972568"/>
            <a:chOff x="0" y="0"/>
            <a:chExt cx="6763056" cy="6972568"/>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sp>
        <p:nvSpPr>
          <p:cNvPr id="10" name="Rectangle 9">
            <a:extLst>
              <a:ext uri="{FF2B5EF4-FFF2-40B4-BE49-F238E27FC236}">
                <a16:creationId xmlns:a16="http://schemas.microsoft.com/office/drawing/2014/main" id="{41D540CB-4AFE-4C97-8D52-52A9B0EB588F}"/>
              </a:ext>
            </a:extLst>
          </p:cNvPr>
          <p:cNvSpPr/>
          <p:nvPr userDrawn="1"/>
        </p:nvSpPr>
        <p:spPr>
          <a:xfrm>
            <a:off x="8772172" y="646782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Graphic 10">
            <a:extLst>
              <a:ext uri="{FF2B5EF4-FFF2-40B4-BE49-F238E27FC236}">
                <a16:creationId xmlns:a16="http://schemas.microsoft.com/office/drawing/2014/main" id="{84DD4D18-BD24-4D2E-A052-5E1B39FE5C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6505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2_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sp>
        <p:nvSpPr>
          <p:cNvPr id="14" name="Pentagon 8"/>
          <p:cNvSpPr/>
          <p:nvPr userDrawn="1"/>
        </p:nvSpPr>
        <p:spPr bwMode="white">
          <a:xfrm>
            <a:off x="0" y="0"/>
            <a:ext cx="96743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0" name="Rectangle 9">
            <a:extLst>
              <a:ext uri="{FF2B5EF4-FFF2-40B4-BE49-F238E27FC236}">
                <a16:creationId xmlns:a16="http://schemas.microsoft.com/office/drawing/2014/main" id="{41D540CB-4AFE-4C97-8D52-52A9B0EB588F}"/>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36801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04111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lumMod val="60000"/>
              <a:lumOff val="40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72747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2_Blank">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7F1FC4F-9178-4A32-93D9-813438F51FE0}"/>
              </a:ext>
            </a:extLst>
          </p:cNvPr>
          <p:cNvGrpSpPr/>
          <p:nvPr/>
        </p:nvGrpSpPr>
        <p:grpSpPr>
          <a:xfrm>
            <a:off x="-1" y="0"/>
            <a:ext cx="4614531" cy="6858000"/>
            <a:chOff x="0" y="0"/>
            <a:chExt cx="7517364" cy="6858000"/>
          </a:xfrm>
          <a:solidFill>
            <a:schemeClr val="tx1">
              <a:lumMod val="20000"/>
              <a:lumOff val="80000"/>
            </a:schemeClr>
          </a:solidFill>
        </p:grpSpPr>
        <p:sp>
          <p:nvSpPr>
            <p:cNvPr id="2" name="Rectangle 1">
              <a:extLst>
                <a:ext uri="{FF2B5EF4-FFF2-40B4-BE49-F238E27FC236}">
                  <a16:creationId xmlns:a16="http://schemas.microsoft.com/office/drawing/2014/main" id="{29D495D6-FA15-4D89-9015-E1D7302DF915}"/>
                </a:ext>
              </a:extLst>
            </p:cNvPr>
            <p:cNvSpPr/>
            <p:nvPr/>
          </p:nvSpPr>
          <p:spPr>
            <a:xfrm>
              <a:off x="0" y="0"/>
              <a:ext cx="6096000" cy="6858000"/>
            </a:xfrm>
            <a:prstGeom prst="rect">
              <a:avLst/>
            </a:prstGeom>
            <a:grp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6" name="Isosceles Triangle 5">
              <a:extLst>
                <a:ext uri="{FF2B5EF4-FFF2-40B4-BE49-F238E27FC236}">
                  <a16:creationId xmlns:a16="http://schemas.microsoft.com/office/drawing/2014/main" id="{32CE8656-BDEA-4EE4-945E-AF502CBB6757}"/>
                </a:ext>
              </a:extLst>
            </p:cNvPr>
            <p:cNvSpPr/>
            <p:nvPr/>
          </p:nvSpPr>
          <p:spPr>
            <a:xfrm rot="5400000">
              <a:off x="3377682" y="2718318"/>
              <a:ext cx="6858000" cy="1421364"/>
            </a:xfrm>
            <a:prstGeom prst="triangle">
              <a:avLst/>
            </a:prstGeom>
            <a:solidFill>
              <a:schemeClr val="tx1">
                <a:lumMod val="20000"/>
                <a:lumOff val="8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93079117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5_Blank">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07179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4_Blank">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4204E785-3FCB-4CBB-8B8F-3CB18DD09EF7}"/>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2980340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Default Slide">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929515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4204E785-3FCB-4CBB-8B8F-3CB18DD09EF7}"/>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405974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9D61790C-4245-4C63-A707-41AA9823D9C9}"/>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3C469253-86D0-4685-BDC8-EC6942D57C4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93755059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Blank">
    <p:bg>
      <p:bgPr>
        <a:solidFill>
          <a:schemeClr val="bg1">
            <a:lumMod val="95000"/>
          </a:schemeClr>
        </a:solidFill>
        <a:effectLst/>
      </p:bgPr>
    </p:bg>
    <p:spTree>
      <p:nvGrpSpPr>
        <p:cNvPr id="1" name=""/>
        <p:cNvGrpSpPr/>
        <p:nvPr/>
      </p:nvGrpSpPr>
      <p:grpSpPr>
        <a:xfrm>
          <a:off x="0" y="0"/>
          <a:ext cx="0" cy="0"/>
          <a:chOff x="0" y="0"/>
          <a:chExt cx="0" cy="0"/>
        </a:xfrm>
      </p:grpSpPr>
      <p:sp>
        <p:nvSpPr>
          <p:cNvPr id="3" name="Isosceles Triangle 2">
            <a:extLst>
              <a:ext uri="{FF2B5EF4-FFF2-40B4-BE49-F238E27FC236}">
                <a16:creationId xmlns:a16="http://schemas.microsoft.com/office/drawing/2014/main" id="{4204E785-3FCB-4CBB-8B8F-3CB18DD09EF7}"/>
              </a:ext>
            </a:extLst>
          </p:cNvPr>
          <p:cNvSpPr/>
          <p:nvPr/>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3" name="Picture Placeholder 2">
            <a:extLst>
              <a:ext uri="{FF2B5EF4-FFF2-40B4-BE49-F238E27FC236}">
                <a16:creationId xmlns:a16="http://schemas.microsoft.com/office/drawing/2014/main" id="{16B06460-4241-4299-B888-51DCF946908B}"/>
              </a:ext>
            </a:extLst>
          </p:cNvPr>
          <p:cNvSpPr>
            <a:spLocks noGrp="1"/>
          </p:cNvSpPr>
          <p:nvPr>
            <p:ph type="pic" sz="quarter" idx="10"/>
          </p:nvPr>
        </p:nvSpPr>
        <p:spPr>
          <a:xfrm>
            <a:off x="69180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26" name="Picture Placeholder 2">
            <a:extLst>
              <a:ext uri="{FF2B5EF4-FFF2-40B4-BE49-F238E27FC236}">
                <a16:creationId xmlns:a16="http://schemas.microsoft.com/office/drawing/2014/main" id="{C8DCD654-8E78-4CE8-B67B-45263D7758A8}"/>
              </a:ext>
            </a:extLst>
          </p:cNvPr>
          <p:cNvSpPr>
            <a:spLocks noGrp="1"/>
          </p:cNvSpPr>
          <p:nvPr>
            <p:ph type="pic" sz="quarter" idx="11"/>
          </p:nvPr>
        </p:nvSpPr>
        <p:spPr>
          <a:xfrm>
            <a:off x="300479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27" name="Picture Placeholder 2">
            <a:extLst>
              <a:ext uri="{FF2B5EF4-FFF2-40B4-BE49-F238E27FC236}">
                <a16:creationId xmlns:a16="http://schemas.microsoft.com/office/drawing/2014/main" id="{6B1E066B-A1D7-4D0D-A855-5C1482A2540E}"/>
              </a:ext>
            </a:extLst>
          </p:cNvPr>
          <p:cNvSpPr>
            <a:spLocks noGrp="1"/>
          </p:cNvSpPr>
          <p:nvPr>
            <p:ph type="pic" sz="quarter" idx="12"/>
          </p:nvPr>
        </p:nvSpPr>
        <p:spPr>
          <a:xfrm>
            <a:off x="531778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28" name="Picture Placeholder 2">
            <a:extLst>
              <a:ext uri="{FF2B5EF4-FFF2-40B4-BE49-F238E27FC236}">
                <a16:creationId xmlns:a16="http://schemas.microsoft.com/office/drawing/2014/main" id="{B6DFC306-30C7-43CE-9ACE-3204682A2C4E}"/>
              </a:ext>
            </a:extLst>
          </p:cNvPr>
          <p:cNvSpPr>
            <a:spLocks noGrp="1"/>
          </p:cNvSpPr>
          <p:nvPr>
            <p:ph type="pic" sz="quarter" idx="13"/>
          </p:nvPr>
        </p:nvSpPr>
        <p:spPr>
          <a:xfrm>
            <a:off x="7630772"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
        <p:nvSpPr>
          <p:cNvPr id="7" name="Picture Placeholder 2">
            <a:extLst>
              <a:ext uri="{FF2B5EF4-FFF2-40B4-BE49-F238E27FC236}">
                <a16:creationId xmlns:a16="http://schemas.microsoft.com/office/drawing/2014/main" id="{297FC890-6B0A-427A-8C7E-03A82B8F0E9E}"/>
              </a:ext>
            </a:extLst>
          </p:cNvPr>
          <p:cNvSpPr>
            <a:spLocks noGrp="1"/>
          </p:cNvSpPr>
          <p:nvPr>
            <p:ph type="pic" sz="quarter" idx="14"/>
          </p:nvPr>
        </p:nvSpPr>
        <p:spPr>
          <a:xfrm>
            <a:off x="9943761" y="1680856"/>
            <a:ext cx="1828800" cy="1828800"/>
          </a:xfrm>
          <a:prstGeom prst="flowChartConnector">
            <a:avLst/>
          </a:prstGeom>
          <a:ln w="50800">
            <a:gradFill flip="none" rotWithShape="1">
              <a:gsLst>
                <a:gs pos="0">
                  <a:schemeClr val="accent5">
                    <a:lumMod val="89000"/>
                  </a:schemeClr>
                </a:gs>
                <a:gs pos="23000">
                  <a:schemeClr val="accent5">
                    <a:lumMod val="89000"/>
                  </a:schemeClr>
                </a:gs>
                <a:gs pos="69000">
                  <a:schemeClr val="accent5">
                    <a:lumMod val="75000"/>
                  </a:schemeClr>
                </a:gs>
                <a:gs pos="97000">
                  <a:schemeClr val="accent5">
                    <a:lumMod val="70000"/>
                  </a:schemeClr>
                </a:gs>
              </a:gsLst>
              <a:path path="circle">
                <a:fillToRect l="50000" t="50000" r="50000" b="50000"/>
              </a:path>
              <a:tileRect/>
            </a:gradFill>
          </a:ln>
        </p:spPr>
      </p:sp>
    </p:spTree>
    <p:extLst>
      <p:ext uri="{BB962C8B-B14F-4D97-AF65-F5344CB8AC3E}">
        <p14:creationId xmlns:p14="http://schemas.microsoft.com/office/powerpoint/2010/main" val="212654649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Overview with image on left">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37846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528457" y="451369"/>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86271442"/>
      </p:ext>
    </p:extLst>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7_Overview with image on left">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1"/>
            <a:ext cx="12192000" cy="241935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528457" y="4562475"/>
            <a:ext cx="5715000" cy="1375294"/>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9728671"/>
      </p:ext>
    </p:extLst>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8_Overview with image on left">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1"/>
            <a:ext cx="12192000" cy="241935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528457" y="4562475"/>
            <a:ext cx="5715000" cy="1375294"/>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07068593"/>
      </p:ext>
    </p:extLst>
  </p:cSld>
  <p:clrMapOvr>
    <a:masterClrMapping/>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4_Overview with image on left">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48514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5493657" y="603769"/>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5795927"/>
      </p:ext>
    </p:extLst>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1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3761982"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772901" y="517848"/>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7" name="Isosceles Triangle 6">
            <a:extLst>
              <a:ext uri="{FF2B5EF4-FFF2-40B4-BE49-F238E27FC236}">
                <a16:creationId xmlns:a16="http://schemas.microsoft.com/office/drawing/2014/main" id="{6CDBEC0D-D611-4672-99FB-E92800E3FB30}"/>
              </a:ext>
            </a:extLst>
          </p:cNvPr>
          <p:cNvSpPr/>
          <p:nvPr userDrawn="1"/>
        </p:nvSpPr>
        <p:spPr>
          <a:xfrm rot="16200000">
            <a:off x="11143864" y="-12443"/>
            <a:ext cx="1035697" cy="1060583"/>
          </a:xfrm>
          <a:prstGeom prst="triangle">
            <a:avLst>
              <a:gd name="adj" fmla="val 100000"/>
            </a:avLst>
          </a:prstGeom>
          <a:gradFill>
            <a:gsLst>
              <a:gs pos="0">
                <a:schemeClr val="accent4"/>
              </a:gs>
              <a:gs pos="100000">
                <a:schemeClr val="accent2"/>
              </a:gs>
            </a:gsLst>
            <a:lin ang="8100000" scaled="1"/>
          </a:gra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70346060"/>
      </p:ext>
    </p:extLst>
  </p:cSld>
  <p:clrMapOvr>
    <a:masterClrMapping/>
  </p:clrMapOvr>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5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3761982"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4772901" y="517848"/>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08717554"/>
      </p:ext>
    </p:extLst>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8430018" y="0"/>
            <a:ext cx="3761982"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Tree>
    <p:extLst>
      <p:ext uri="{BB962C8B-B14F-4D97-AF65-F5344CB8AC3E}">
        <p14:creationId xmlns:p14="http://schemas.microsoft.com/office/powerpoint/2010/main" val="1886881981"/>
      </p:ext>
    </p:extLst>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121920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Tree>
    <p:extLst>
      <p:ext uri="{BB962C8B-B14F-4D97-AF65-F5344CB8AC3E}">
        <p14:creationId xmlns:p14="http://schemas.microsoft.com/office/powerpoint/2010/main" val="1507828245"/>
      </p:ext>
    </p:extLst>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Overview with image on left">
    <p:bg>
      <p:bgPr>
        <a:solidFill>
          <a:schemeClr val="tx1">
            <a:lumMod val="10000"/>
            <a:lumOff val="9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FE494C3-4260-4CDE-A1CD-457849F3299B}"/>
              </a:ext>
            </a:extLst>
          </p:cNvPr>
          <p:cNvSpPr/>
          <p:nvPr/>
        </p:nvSpPr>
        <p:spPr>
          <a:xfrm rot="10800000" flipV="1">
            <a:off x="0" y="0"/>
            <a:ext cx="5714998" cy="373908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434" eaLnBrk="1" fontAlgn="auto" hangingPunct="1">
              <a:spcBef>
                <a:spcPts val="0"/>
              </a:spcBef>
              <a:spcAft>
                <a:spcPts val="0"/>
              </a:spcAft>
              <a:defRPr/>
            </a:pPr>
            <a:endParaRPr lang="en-US" sz="2800" dirty="0"/>
          </a:p>
        </p:txBody>
      </p:sp>
      <p:sp>
        <p:nvSpPr>
          <p:cNvPr id="6" name="Picture Placeholder 13"/>
          <p:cNvSpPr>
            <a:spLocks noGrp="1"/>
          </p:cNvSpPr>
          <p:nvPr>
            <p:ph type="pic" sz="quarter" idx="60"/>
          </p:nvPr>
        </p:nvSpPr>
        <p:spPr>
          <a:xfrm>
            <a:off x="5714998" y="-1"/>
            <a:ext cx="6477002" cy="3739082"/>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391560" y="315483"/>
            <a:ext cx="3963157" cy="185416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9" name="Picture Placeholder 13">
            <a:extLst>
              <a:ext uri="{FF2B5EF4-FFF2-40B4-BE49-F238E27FC236}">
                <a16:creationId xmlns:a16="http://schemas.microsoft.com/office/drawing/2014/main" id="{DD46F5E1-F599-46A9-8478-0591E55614AB}"/>
              </a:ext>
            </a:extLst>
          </p:cNvPr>
          <p:cNvSpPr>
            <a:spLocks noGrp="1"/>
          </p:cNvSpPr>
          <p:nvPr>
            <p:ph type="pic" sz="quarter" idx="62"/>
          </p:nvPr>
        </p:nvSpPr>
        <p:spPr>
          <a:xfrm>
            <a:off x="0" y="3739081"/>
            <a:ext cx="5714998" cy="3118919"/>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r>
              <a:rPr lang="en-US" dirty="0"/>
              <a:t>Click icon to add picture</a:t>
            </a:r>
          </a:p>
        </p:txBody>
      </p:sp>
      <p:sp>
        <p:nvSpPr>
          <p:cNvPr id="10" name="Rectangle 9">
            <a:extLst>
              <a:ext uri="{FF2B5EF4-FFF2-40B4-BE49-F238E27FC236}">
                <a16:creationId xmlns:a16="http://schemas.microsoft.com/office/drawing/2014/main" id="{AEC619D6-9F10-4D27-AA8E-2817035FC6FE}"/>
              </a:ext>
            </a:extLst>
          </p:cNvPr>
          <p:cNvSpPr/>
          <p:nvPr userDrawn="1"/>
        </p:nvSpPr>
        <p:spPr>
          <a:xfrm rot="10800000" flipV="1">
            <a:off x="5720997" y="3739083"/>
            <a:ext cx="6471001" cy="31189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1828434" eaLnBrk="1" fontAlgn="auto" hangingPunct="1">
              <a:spcBef>
                <a:spcPts val="0"/>
              </a:spcBef>
              <a:spcAft>
                <a:spcPts val="0"/>
              </a:spcAft>
              <a:defRPr/>
            </a:pPr>
            <a:endParaRPr lang="en-US" sz="2800" dirty="0"/>
          </a:p>
        </p:txBody>
      </p:sp>
      <p:sp>
        <p:nvSpPr>
          <p:cNvPr id="12" name="Text Placeholder 4">
            <a:extLst>
              <a:ext uri="{FF2B5EF4-FFF2-40B4-BE49-F238E27FC236}">
                <a16:creationId xmlns:a16="http://schemas.microsoft.com/office/drawing/2014/main" id="{457981CA-E24D-44A2-9528-468D6F1C66DB}"/>
              </a:ext>
            </a:extLst>
          </p:cNvPr>
          <p:cNvSpPr>
            <a:spLocks noGrp="1"/>
          </p:cNvSpPr>
          <p:nvPr>
            <p:ph type="body" sz="quarter" idx="63"/>
          </p:nvPr>
        </p:nvSpPr>
        <p:spPr>
          <a:xfrm>
            <a:off x="6971920" y="4371460"/>
            <a:ext cx="3963157" cy="185416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1524106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82741164"/>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p:nvPicPr>
        <p:blipFill>
          <a:blip r:embed="rId2"/>
          <a:srcRect/>
          <a:stretch/>
        </p:blipFill>
        <p:spPr>
          <a:xfrm>
            <a:off x="-64" y="858"/>
            <a:ext cx="12188952"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sp>
        <p:nvSpPr>
          <p:cNvPr id="5" name="Rectangle 4">
            <a:extLst>
              <a:ext uri="{FF2B5EF4-FFF2-40B4-BE49-F238E27FC236}">
                <a16:creationId xmlns:a16="http://schemas.microsoft.com/office/drawing/2014/main" id="{F1072632-3AEA-40CD-8AE3-E0D92A221BD9}"/>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85298992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p:nvPicPr>
        <p:blipFill>
          <a:blip r:embed="rId2"/>
          <a:srcRect/>
          <a:stretch/>
        </p:blipFill>
        <p:spPr>
          <a:xfrm>
            <a:off x="-64" y="858"/>
            <a:ext cx="12188951"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a:solidFill>
            <a:srgbClr val="1E4A66"/>
          </a:solidFill>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2</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2" name="Rectangle 11">
            <a:extLst>
              <a:ext uri="{FF2B5EF4-FFF2-40B4-BE49-F238E27FC236}">
                <a16:creationId xmlns:a16="http://schemas.microsoft.com/office/drawing/2014/main" id="{79D81A2E-DC11-4B80-8147-EFA5A7F82B0E}"/>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14">
            <a:extLst>
              <a:ext uri="{FF2B5EF4-FFF2-40B4-BE49-F238E27FC236}">
                <a16:creationId xmlns:a16="http://schemas.microsoft.com/office/drawing/2014/main" id="{84820F92-8AC4-4D4F-BBB8-DBC47EF1B29C}"/>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4" name="Text Placeholder 14">
            <a:extLst>
              <a:ext uri="{FF2B5EF4-FFF2-40B4-BE49-F238E27FC236}">
                <a16:creationId xmlns:a16="http://schemas.microsoft.com/office/drawing/2014/main" id="{6F2F260F-4F23-41A2-BE36-BDC07EC0872C}"/>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6" name="Text Placeholder 14">
            <a:extLst>
              <a:ext uri="{FF2B5EF4-FFF2-40B4-BE49-F238E27FC236}">
                <a16:creationId xmlns:a16="http://schemas.microsoft.com/office/drawing/2014/main" id="{CDF33D77-D883-4C37-AE32-998A2CF2236D}"/>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33621404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3</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2" name="Rectangle 11">
            <a:extLst>
              <a:ext uri="{FF2B5EF4-FFF2-40B4-BE49-F238E27FC236}">
                <a16:creationId xmlns:a16="http://schemas.microsoft.com/office/drawing/2014/main" id="{5F51A2D2-391F-4C64-96C7-1432B78E2BE1}"/>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 name="Text Placeholder 14">
            <a:extLst>
              <a:ext uri="{FF2B5EF4-FFF2-40B4-BE49-F238E27FC236}">
                <a16:creationId xmlns:a16="http://schemas.microsoft.com/office/drawing/2014/main" id="{CDB97993-C49C-4689-8BA5-4B346B26BF5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4" name="Text Placeholder 14">
            <a:extLst>
              <a:ext uri="{FF2B5EF4-FFF2-40B4-BE49-F238E27FC236}">
                <a16:creationId xmlns:a16="http://schemas.microsoft.com/office/drawing/2014/main" id="{3C090AA8-0FC7-44EA-BFA0-18D7995E5A61}"/>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6" name="Text Placeholder 14">
            <a:extLst>
              <a:ext uri="{FF2B5EF4-FFF2-40B4-BE49-F238E27FC236}">
                <a16:creationId xmlns:a16="http://schemas.microsoft.com/office/drawing/2014/main" id="{FE7BC005-A963-4C8D-9B54-EDA34781D86A}"/>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201753970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p:nvPicPr>
        <p:blipFill>
          <a:blip r:embed="rId2"/>
          <a:srcRect/>
          <a:stretch/>
        </p:blipFill>
        <p:spPr>
          <a:xfrm>
            <a:off x="-64" y="858"/>
            <a:ext cx="12188952"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8" name="Graphic 7">
            <a:extLst>
              <a:ext uri="{FF2B5EF4-FFF2-40B4-BE49-F238E27FC236}">
                <a16:creationId xmlns:a16="http://schemas.microsoft.com/office/drawing/2014/main" id="{A656AE5F-187E-4826-A8CB-8F53CA3A3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97F62357-DF90-4683-9EE8-10073F211B4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36120B6F-9669-4B87-91FC-7B62F14E5FB6}"/>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296B7E3C-1E79-4414-AC87-D58C64CEAC4A}"/>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983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2</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70C531CC-6D38-441F-8D0E-FB71B3831ADF}"/>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6543355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A2ED847A-9B40-4765-9515-42CE09D49A28}"/>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3</a:t>
            </a:r>
          </a:p>
        </p:txBody>
      </p:sp>
      <p:sp>
        <p:nvSpPr>
          <p:cNvPr id="13" name="Text Placeholder 14">
            <a:extLst>
              <a:ext uri="{FF2B5EF4-FFF2-40B4-BE49-F238E27FC236}">
                <a16:creationId xmlns:a16="http://schemas.microsoft.com/office/drawing/2014/main" id="{9F360DD3-3DE1-44C6-9A01-7AB17D37C427}"/>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0" name="Rectangle 9">
            <a:extLst>
              <a:ext uri="{FF2B5EF4-FFF2-40B4-BE49-F238E27FC236}">
                <a16:creationId xmlns:a16="http://schemas.microsoft.com/office/drawing/2014/main" id="{72F190F3-2598-4B0E-B7D1-6213651F98BD}"/>
              </a:ext>
            </a:extLst>
          </p:cNvPr>
          <p:cNvSpPr/>
          <p:nvPr/>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7405447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Title/Subtitle Only">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4594800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_Title/Subtitle with one column">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9100914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itle/Subtitle with two columns">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54449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9256118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6096000"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54889270"/>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p:nvSpPr>
        <p:spPr bwMode="auto">
          <a:xfrm>
            <a:off x="1075884" y="1613180"/>
            <a:ext cx="10040249"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Open Sans Light" charset="0"/>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p:nvSpPr>
        <p:spPr>
          <a:xfrm>
            <a:off x="1573691" y="4140246"/>
            <a:ext cx="1042273"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p:nvSpPr>
        <p:spPr>
          <a:xfrm>
            <a:off x="381000" y="5794258"/>
            <a:ext cx="11430000" cy="693651"/>
          </a:xfrm>
          <a:prstGeom prst="rect">
            <a:avLst/>
          </a:prstGeom>
          <a:noFill/>
        </p:spPr>
        <p:txBody>
          <a:bodyPr wrap="square" rtlCol="0">
            <a:spAutoFit/>
          </a:bodyPr>
          <a:lstStyle/>
          <a:p>
            <a:pPr algn="ctr">
              <a:lnSpc>
                <a:spcPts val="1620"/>
              </a:lnSpc>
            </a:pP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a:t>
            </a:r>
            <a:b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b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wide range of legal needs. Clients receive knowledgeable guidance from experienced, multi-disciplined industry and client service teams, all seamlessly connected across 21 offices in Alabama, Florida, Georgia, Louisiana, Maryland, Mississippi,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pic>
        <p:nvPicPr>
          <p:cNvPr id="16" name="Graphic 15">
            <a:extLst>
              <a:ext uri="{FF2B5EF4-FFF2-40B4-BE49-F238E27FC236}">
                <a16:creationId xmlns:a16="http://schemas.microsoft.com/office/drawing/2014/main" id="{16702A56-F8BD-4883-868A-BF99C0595C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665906" y="3510046"/>
            <a:ext cx="552450" cy="552450"/>
          </a:xfrm>
          <a:prstGeom prst="rect">
            <a:avLst/>
          </a:prstGeom>
        </p:spPr>
      </p:pic>
      <p:sp>
        <p:nvSpPr>
          <p:cNvPr id="19" name="Rectangle 18">
            <a:extLst>
              <a:ext uri="{FF2B5EF4-FFF2-40B4-BE49-F238E27FC236}">
                <a16:creationId xmlns:a16="http://schemas.microsoft.com/office/drawing/2014/main" id="{96FC3433-DCBB-4866-ABF7-8B8E191533CF}"/>
              </a:ext>
            </a:extLst>
          </p:cNvPr>
          <p:cNvSpPr/>
          <p:nvPr/>
        </p:nvSpPr>
        <p:spPr>
          <a:xfrm>
            <a:off x="9427631" y="4140246"/>
            <a:ext cx="102900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WITTER</a:t>
            </a:r>
          </a:p>
        </p:txBody>
      </p:sp>
      <p:sp>
        <p:nvSpPr>
          <p:cNvPr id="21" name="Rectangle 20">
            <a:extLst>
              <a:ext uri="{FF2B5EF4-FFF2-40B4-BE49-F238E27FC236}">
                <a16:creationId xmlns:a16="http://schemas.microsoft.com/office/drawing/2014/main" id="{43DE0751-F48A-4E59-91EF-79F744409C3B}"/>
              </a:ext>
            </a:extLst>
          </p:cNvPr>
          <p:cNvSpPr/>
          <p:nvPr/>
        </p:nvSpPr>
        <p:spPr>
          <a:xfrm>
            <a:off x="4158540" y="4140246"/>
            <a:ext cx="1267591"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p:nvSpPr>
        <p:spPr>
          <a:xfrm>
            <a:off x="6674353" y="4140246"/>
            <a:ext cx="112082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958536" y="3514829"/>
            <a:ext cx="552450" cy="552450"/>
          </a:xfrm>
          <a:prstGeom prst="rect">
            <a:avLst/>
          </a:prstGeom>
        </p:spPr>
      </p:pic>
    </p:spTree>
    <p:extLst>
      <p:ext uri="{BB962C8B-B14F-4D97-AF65-F5344CB8AC3E}">
        <p14:creationId xmlns:p14="http://schemas.microsoft.com/office/powerpoint/2010/main" val="42255540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1_Picture Placeholder">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13858C-6F0B-4D3B-9D0D-E2204414BF1C}"/>
              </a:ext>
            </a:extLst>
          </p:cNvPr>
          <p:cNvSpPr>
            <a:spLocks noGrp="1"/>
          </p:cNvSpPr>
          <p:nvPr>
            <p:ph type="pic" sz="quarter" idx="10" hasCustomPrompt="1"/>
          </p:nvPr>
        </p:nvSpPr>
        <p:spPr>
          <a:xfrm>
            <a:off x="-3762276" y="-2417566"/>
            <a:ext cx="9869714" cy="9869714"/>
          </a:xfrm>
          <a:custGeom>
            <a:avLst/>
            <a:gdLst>
              <a:gd name="connsiteX0" fmla="*/ 4934857 w 9869714"/>
              <a:gd name="connsiteY0" fmla="*/ 0 h 9869714"/>
              <a:gd name="connsiteX1" fmla="*/ 9869714 w 9869714"/>
              <a:gd name="connsiteY1" fmla="*/ 4934857 h 9869714"/>
              <a:gd name="connsiteX2" fmla="*/ 4934857 w 9869714"/>
              <a:gd name="connsiteY2" fmla="*/ 9869714 h 9869714"/>
              <a:gd name="connsiteX3" fmla="*/ 0 w 9869714"/>
              <a:gd name="connsiteY3" fmla="*/ 4934857 h 9869714"/>
              <a:gd name="connsiteX4" fmla="*/ 4934857 w 9869714"/>
              <a:gd name="connsiteY4" fmla="*/ 0 h 986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9714" h="9869714">
                <a:moveTo>
                  <a:pt x="4934857" y="0"/>
                </a:moveTo>
                <a:cubicBezTo>
                  <a:pt x="7660304" y="0"/>
                  <a:pt x="9869714" y="2209411"/>
                  <a:pt x="9869714" y="4934857"/>
                </a:cubicBezTo>
                <a:cubicBezTo>
                  <a:pt x="9869714" y="7660303"/>
                  <a:pt x="7660304" y="9869714"/>
                  <a:pt x="4934857" y="9869714"/>
                </a:cubicBezTo>
                <a:cubicBezTo>
                  <a:pt x="2209411" y="9869714"/>
                  <a:pt x="0" y="7660303"/>
                  <a:pt x="0" y="4934857"/>
                </a:cubicBezTo>
                <a:cubicBezTo>
                  <a:pt x="0" y="2209411"/>
                  <a:pt x="2209411" y="0"/>
                  <a:pt x="4934857" y="0"/>
                </a:cubicBezTo>
                <a:close/>
              </a:path>
            </a:pathLst>
          </a:custGeom>
        </p:spPr>
        <p:txBody>
          <a:bodyPr wrap="square" anchor="ctr">
            <a:noAutofit/>
          </a:bodyPr>
          <a:lstStyle>
            <a:lvl1pPr marL="0" indent="0" algn="r">
              <a:buNone/>
              <a:defRPr sz="1600"/>
            </a:lvl1pPr>
          </a:lstStyle>
          <a:p>
            <a:r>
              <a:rPr lang="en-US" dirty="0"/>
              <a:t>Drag and drop your picture here, or click on the icon.</a:t>
            </a:r>
          </a:p>
        </p:txBody>
      </p:sp>
    </p:spTree>
    <p:extLst>
      <p:ext uri="{BB962C8B-B14F-4D97-AF65-F5344CB8AC3E}">
        <p14:creationId xmlns:p14="http://schemas.microsoft.com/office/powerpoint/2010/main" val="290843248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2_Picture Placeholder">
    <p:bg>
      <p:bgPr>
        <a:solidFill>
          <a:schemeClr val="bg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C913858C-6F0B-4D3B-9D0D-E2204414BF1C}"/>
              </a:ext>
            </a:extLst>
          </p:cNvPr>
          <p:cNvSpPr>
            <a:spLocks noGrp="1"/>
          </p:cNvSpPr>
          <p:nvPr>
            <p:ph type="pic" sz="quarter" idx="10" hasCustomPrompt="1"/>
          </p:nvPr>
        </p:nvSpPr>
        <p:spPr>
          <a:xfrm>
            <a:off x="-3762276" y="-2417566"/>
            <a:ext cx="9869714" cy="9869714"/>
          </a:xfrm>
          <a:custGeom>
            <a:avLst/>
            <a:gdLst>
              <a:gd name="connsiteX0" fmla="*/ 4934857 w 9869714"/>
              <a:gd name="connsiteY0" fmla="*/ 0 h 9869714"/>
              <a:gd name="connsiteX1" fmla="*/ 9869714 w 9869714"/>
              <a:gd name="connsiteY1" fmla="*/ 4934857 h 9869714"/>
              <a:gd name="connsiteX2" fmla="*/ 4934857 w 9869714"/>
              <a:gd name="connsiteY2" fmla="*/ 9869714 h 9869714"/>
              <a:gd name="connsiteX3" fmla="*/ 0 w 9869714"/>
              <a:gd name="connsiteY3" fmla="*/ 4934857 h 9869714"/>
              <a:gd name="connsiteX4" fmla="*/ 4934857 w 9869714"/>
              <a:gd name="connsiteY4" fmla="*/ 0 h 9869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9714" h="9869714">
                <a:moveTo>
                  <a:pt x="4934857" y="0"/>
                </a:moveTo>
                <a:cubicBezTo>
                  <a:pt x="7660304" y="0"/>
                  <a:pt x="9869714" y="2209411"/>
                  <a:pt x="9869714" y="4934857"/>
                </a:cubicBezTo>
                <a:cubicBezTo>
                  <a:pt x="9869714" y="7660303"/>
                  <a:pt x="7660304" y="9869714"/>
                  <a:pt x="4934857" y="9869714"/>
                </a:cubicBezTo>
                <a:cubicBezTo>
                  <a:pt x="2209411" y="9869714"/>
                  <a:pt x="0" y="7660303"/>
                  <a:pt x="0" y="4934857"/>
                </a:cubicBezTo>
                <a:cubicBezTo>
                  <a:pt x="0" y="2209411"/>
                  <a:pt x="2209411" y="0"/>
                  <a:pt x="4934857" y="0"/>
                </a:cubicBezTo>
                <a:close/>
              </a:path>
            </a:pathLst>
          </a:custGeom>
        </p:spPr>
        <p:txBody>
          <a:bodyPr wrap="square" anchor="ctr">
            <a:noAutofit/>
          </a:bodyPr>
          <a:lstStyle>
            <a:lvl1pPr marL="0" indent="0" algn="r">
              <a:buNone/>
              <a:defRPr sz="1600"/>
            </a:lvl1pPr>
          </a:lstStyle>
          <a:p>
            <a:r>
              <a:rPr lang="en-US" dirty="0"/>
              <a:t>Drag and drop your picture here, or click on the icon.</a:t>
            </a:r>
          </a:p>
        </p:txBody>
      </p:sp>
    </p:spTree>
    <p:extLst>
      <p:ext uri="{BB962C8B-B14F-4D97-AF65-F5344CB8AC3E}">
        <p14:creationId xmlns:p14="http://schemas.microsoft.com/office/powerpoint/2010/main" val="4221497421"/>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userDrawn="1">
  <p:cSld name="1_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Tree>
    <p:extLst>
      <p:ext uri="{BB962C8B-B14F-4D97-AF65-F5344CB8AC3E}">
        <p14:creationId xmlns:p14="http://schemas.microsoft.com/office/powerpoint/2010/main" val="4159760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Arrow one third">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4011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622800"/>
            <a:ext cx="10933350" cy="332399"/>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4386CD49-D10B-4F20-9649-973DCA541FA9}"/>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0" name="Graphic 9">
            <a:extLst>
              <a:ext uri="{FF2B5EF4-FFF2-40B4-BE49-F238E27FC236}">
                <a16:creationId xmlns:a16="http://schemas.microsoft.com/office/drawing/2014/main" id="{9E2CF8E4-C99D-4DBC-AF8B-F26F8079B74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1084604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4_Arrow half">
    <p:bg>
      <p:bgPr>
        <a:gradFill>
          <a:gsLst>
            <a:gs pos="0">
              <a:schemeClr val="accent4"/>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Title 2"/>
          <p:cNvSpPr>
            <a:spLocks noGrp="1"/>
          </p:cNvSpPr>
          <p:nvPr>
            <p:ph type="title" hasCustomPrompt="1"/>
          </p:nvPr>
        </p:nvSpPr>
        <p:spPr>
          <a:xfrm>
            <a:off x="630000" y="622800"/>
            <a:ext cx="10933350"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lvl="0"/>
            <a:r>
              <a:rPr lang="en-US"/>
              <a:t>Click to add title</a:t>
            </a:r>
            <a:endParaRPr lang="en-US" dirty="0"/>
          </a:p>
        </p:txBody>
      </p:sp>
      <p:grpSp>
        <p:nvGrpSpPr>
          <p:cNvPr id="2" name="Group 1">
            <a:extLst>
              <a:ext uri="{FF2B5EF4-FFF2-40B4-BE49-F238E27FC236}">
                <a16:creationId xmlns:a16="http://schemas.microsoft.com/office/drawing/2014/main" id="{D6B7EF39-1C5E-4A64-AE1B-28544A255880}"/>
              </a:ext>
            </a:extLst>
          </p:cNvPr>
          <p:cNvGrpSpPr/>
          <p:nvPr userDrawn="1"/>
        </p:nvGrpSpPr>
        <p:grpSpPr>
          <a:xfrm>
            <a:off x="0" y="0"/>
            <a:ext cx="4391247" cy="6972568"/>
            <a:chOff x="0" y="0"/>
            <a:chExt cx="6763056" cy="6972568"/>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sp>
        <p:nvSpPr>
          <p:cNvPr id="10" name="Rectangle 9">
            <a:extLst>
              <a:ext uri="{FF2B5EF4-FFF2-40B4-BE49-F238E27FC236}">
                <a16:creationId xmlns:a16="http://schemas.microsoft.com/office/drawing/2014/main" id="{41D540CB-4AFE-4C97-8D52-52A9B0EB588F}"/>
              </a:ext>
            </a:extLst>
          </p:cNvPr>
          <p:cNvSpPr/>
          <p:nvPr userDrawn="1"/>
        </p:nvSpPr>
        <p:spPr>
          <a:xfrm rot="16200000">
            <a:off x="10293062" y="4937607"/>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11" name="Graphic 10">
            <a:extLst>
              <a:ext uri="{FF2B5EF4-FFF2-40B4-BE49-F238E27FC236}">
                <a16:creationId xmlns:a16="http://schemas.microsoft.com/office/drawing/2014/main" id="{84DD4D18-BD24-4D2E-A052-5E1B39FE5C6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987683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3573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4">
              <a:lumMod val="60000"/>
              <a:lumOff val="40000"/>
            </a:schemeClr>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1812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5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F9635CD1-1769-434C-8855-5A3DC4A033B9}"/>
              </a:ext>
            </a:extLst>
          </p:cNvPr>
          <p:cNvSpPr>
            <a:spLocks noGrp="1"/>
          </p:cNvSpPr>
          <p:nvPr>
            <p:ph type="pic" sz="quarter" idx="15"/>
          </p:nvPr>
        </p:nvSpPr>
        <p:spPr>
          <a:xfrm>
            <a:off x="3674103" y="2620271"/>
            <a:ext cx="2374156" cy="2373533"/>
          </a:xfrm>
          <a:prstGeom prst="ellipse">
            <a:avLst/>
          </a:prstGeom>
          <a:solidFill>
            <a:schemeClr val="bg1">
              <a:lumMod val="95000"/>
            </a:schemeClr>
          </a:solidFill>
        </p:spPr>
        <p:txBody>
          <a:bodyPr rtlCol="0">
            <a:normAutofit/>
          </a:bodyPr>
          <a:lstStyle>
            <a:lvl1pPr>
              <a:defRPr sz="1051"/>
            </a:lvl1pPr>
          </a:lstStyle>
          <a:p>
            <a:pPr lvl="0"/>
            <a:r>
              <a:rPr lang="en-US" noProof="0" dirty="0"/>
              <a:t>Click icon to add picture</a:t>
            </a:r>
          </a:p>
        </p:txBody>
      </p:sp>
      <p:sp>
        <p:nvSpPr>
          <p:cNvPr id="6" name="Picture Placeholder 8">
            <a:extLst>
              <a:ext uri="{FF2B5EF4-FFF2-40B4-BE49-F238E27FC236}">
                <a16:creationId xmlns:a16="http://schemas.microsoft.com/office/drawing/2014/main" id="{9C983264-BD19-C84A-ACAA-62C3284CC083}"/>
              </a:ext>
            </a:extLst>
          </p:cNvPr>
          <p:cNvSpPr>
            <a:spLocks noGrp="1"/>
          </p:cNvSpPr>
          <p:nvPr>
            <p:ph type="pic" sz="quarter" idx="16"/>
          </p:nvPr>
        </p:nvSpPr>
        <p:spPr>
          <a:xfrm>
            <a:off x="6279608" y="2620271"/>
            <a:ext cx="2374156" cy="2373533"/>
          </a:xfrm>
          <a:prstGeom prst="ellipse">
            <a:avLst/>
          </a:prstGeom>
          <a:solidFill>
            <a:schemeClr val="bg1">
              <a:lumMod val="95000"/>
            </a:schemeClr>
          </a:solidFill>
        </p:spPr>
        <p:txBody>
          <a:bodyPr rtlCol="0">
            <a:normAutofit/>
          </a:bodyPr>
          <a:lstStyle>
            <a:lvl1pPr>
              <a:defRPr sz="1051"/>
            </a:lvl1pPr>
          </a:lstStyle>
          <a:p>
            <a:pPr lvl="0"/>
            <a:r>
              <a:rPr lang="en-US" noProof="0" dirty="0"/>
              <a:t>Click icon to add picture</a:t>
            </a:r>
          </a:p>
        </p:txBody>
      </p:sp>
    </p:spTree>
    <p:extLst>
      <p:ext uri="{BB962C8B-B14F-4D97-AF65-F5344CB8AC3E}">
        <p14:creationId xmlns:p14="http://schemas.microsoft.com/office/powerpoint/2010/main" val="222907266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Q&amp;A and next steps">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4631"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713365"/>
            <a:ext cx="5715000" cy="615553"/>
          </a:xfrm>
          <a:prstGeom prst="rect">
            <a:avLst/>
          </a:prstGeom>
          <a:noFill/>
        </p:spPr>
        <p:txBody>
          <a:bodyPr wrap="square" rtlCol="0" anchor="b">
            <a:spAutoFit/>
          </a:bodyPr>
          <a:lstStyle/>
          <a:p>
            <a:r>
              <a:rPr lang="en-US" sz="3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Q&amp;A DISCUSSION</a:t>
            </a:r>
          </a:p>
        </p:txBody>
      </p:sp>
      <p:pic>
        <p:nvPicPr>
          <p:cNvPr id="11" name="Picture Placeholder 5">
            <a:extLst>
              <a:ext uri="{FF2B5EF4-FFF2-40B4-BE49-F238E27FC236}">
                <a16:creationId xmlns:a16="http://schemas.microsoft.com/office/drawing/2014/main" id="{6D914C35-3456-4B73-A7EA-430A47168531}"/>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267941552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 Option 1">
    <p:spTree>
      <p:nvGrpSpPr>
        <p:cNvPr id="1" name=""/>
        <p:cNvGrpSpPr/>
        <p:nvPr/>
      </p:nvGrpSpPr>
      <p:grpSpPr>
        <a:xfrm>
          <a:off x="0" y="0"/>
          <a:ext cx="0" cy="0"/>
          <a:chOff x="0" y="0"/>
          <a:chExt cx="0" cy="0"/>
        </a:xfrm>
      </p:grpSpPr>
      <p:pic>
        <p:nvPicPr>
          <p:cNvPr id="2" name="Picture Placeholder 10">
            <a:extLst>
              <a:ext uri="{FF2B5EF4-FFF2-40B4-BE49-F238E27FC236}">
                <a16:creationId xmlns:a16="http://schemas.microsoft.com/office/drawing/2014/main" id="{3A198A3D-747C-4CC1-A72E-BF22917BBD6B}"/>
              </a:ext>
            </a:extLst>
          </p:cNvPr>
          <p:cNvPicPr>
            <a:picLocks noChangeAspect="1"/>
          </p:cNvPicPr>
          <p:nvPr userDrawn="1"/>
        </p:nvPicPr>
        <p:blipFill>
          <a:blip r:embed="rId2"/>
          <a:srcRect/>
          <a:stretch/>
        </p:blipFill>
        <p:spPr>
          <a:xfrm>
            <a:off x="-1588" y="0"/>
            <a:ext cx="12192000" cy="6858000"/>
          </a:xfrm>
          <a:prstGeom prst="rect">
            <a:avLst/>
          </a:prstGeom>
          <a:solidFill>
            <a:schemeClr val="accent5"/>
          </a:solidFill>
        </p:spPr>
      </p:pic>
      <p:sp>
        <p:nvSpPr>
          <p:cNvPr id="3" name="Rectangle 2">
            <a:extLst>
              <a:ext uri="{FF2B5EF4-FFF2-40B4-BE49-F238E27FC236}">
                <a16:creationId xmlns:a16="http://schemas.microsoft.com/office/drawing/2014/main" id="{65B3E7DE-049E-4D77-9239-F5A614A8DBB8}"/>
              </a:ext>
            </a:extLst>
          </p:cNvPr>
          <p:cNvSpPr/>
          <p:nvPr userDrawn="1"/>
        </p:nvSpPr>
        <p:spPr>
          <a:xfrm>
            <a:off x="-1588"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11" name="Straight Connector 10">
            <a:extLst>
              <a:ext uri="{FF2B5EF4-FFF2-40B4-BE49-F238E27FC236}">
                <a16:creationId xmlns:a16="http://schemas.microsoft.com/office/drawing/2014/main" id="{83A2B3FD-D8F5-4F48-AA03-9FFEE6B04BA8}"/>
              </a:ext>
            </a:extLst>
          </p:cNvPr>
          <p:cNvCxnSpPr/>
          <p:nvPr userDrawn="1"/>
        </p:nvCxnSpPr>
        <p:spPr>
          <a:xfrm>
            <a:off x="5753100" y="3768331"/>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0BBB6CCD-41F4-4AD5-B315-266CB5FE9395}"/>
              </a:ext>
            </a:extLst>
          </p:cNvPr>
          <p:cNvSpPr>
            <a:spLocks noGrp="1"/>
          </p:cNvSpPr>
          <p:nvPr>
            <p:ph type="body" sz="quarter" idx="10" hasCustomPrompt="1"/>
          </p:nvPr>
        </p:nvSpPr>
        <p:spPr>
          <a:xfrm>
            <a:off x="381000" y="1855028"/>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ENT NAME</a:t>
            </a:r>
          </a:p>
        </p:txBody>
      </p:sp>
      <p:sp>
        <p:nvSpPr>
          <p:cNvPr id="13" name="Text Placeholder 14">
            <a:extLst>
              <a:ext uri="{FF2B5EF4-FFF2-40B4-BE49-F238E27FC236}">
                <a16:creationId xmlns:a16="http://schemas.microsoft.com/office/drawing/2014/main" id="{4D508A3B-2C72-447F-841D-3333DBF107CF}"/>
              </a:ext>
            </a:extLst>
          </p:cNvPr>
          <p:cNvSpPr>
            <a:spLocks noGrp="1"/>
          </p:cNvSpPr>
          <p:nvPr>
            <p:ph type="body" sz="quarter" idx="11" hasCustomPrompt="1"/>
          </p:nvPr>
        </p:nvSpPr>
        <p:spPr>
          <a:xfrm>
            <a:off x="390525" y="3884608"/>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9">
            <a:extLst>
              <a:ext uri="{FF2B5EF4-FFF2-40B4-BE49-F238E27FC236}">
                <a16:creationId xmlns:a16="http://schemas.microsoft.com/office/drawing/2014/main" id="{B338097C-E0AF-423B-BC68-3C7E471866FD}"/>
              </a:ext>
            </a:extLst>
          </p:cNvPr>
          <p:cNvSpPr>
            <a:spLocks noGrp="1"/>
          </p:cNvSpPr>
          <p:nvPr>
            <p:ph type="body" sz="quarter" idx="12" hasCustomPrompt="1"/>
          </p:nvPr>
        </p:nvSpPr>
        <p:spPr>
          <a:xfrm>
            <a:off x="381000" y="2217738"/>
            <a:ext cx="11430000" cy="498475"/>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lvl="0"/>
            <a:r>
              <a:rPr lang="en-US" dirty="0"/>
              <a:t>PREPARED FOR</a:t>
            </a:r>
          </a:p>
        </p:txBody>
      </p:sp>
      <p:sp>
        <p:nvSpPr>
          <p:cNvPr id="14" name="Text Placeholder 5">
            <a:extLst>
              <a:ext uri="{FF2B5EF4-FFF2-40B4-BE49-F238E27FC236}">
                <a16:creationId xmlns:a16="http://schemas.microsoft.com/office/drawing/2014/main" id="{B8FCA317-9D91-47FD-8239-8FC40DABDA1E}"/>
              </a:ext>
            </a:extLst>
          </p:cNvPr>
          <p:cNvSpPr>
            <a:spLocks noGrp="1"/>
          </p:cNvSpPr>
          <p:nvPr>
            <p:ph type="body" sz="quarter" idx="13" hasCustomPrompt="1"/>
          </p:nvPr>
        </p:nvSpPr>
        <p:spPr>
          <a:xfrm>
            <a:off x="390331" y="4726738"/>
            <a:ext cx="3657600" cy="914400"/>
          </a:xfrm>
          <a:prstGeom prst="rect">
            <a:avLst/>
          </a:prstGeom>
        </p:spPr>
        <p:txBody>
          <a:bodyPr/>
          <a:lstStyle>
            <a:lvl1pPr marL="0" indent="0" algn="ctr">
              <a:buFontTx/>
              <a:buNone/>
              <a:defRPr lang="en-US" sz="1400" kern="1200" spc="300" baseline="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0" lvl="0" indent="0" algn="ctr" defTabSz="914400" rtl="0" eaLnBrk="1" latinLnBrk="0" hangingPunct="1">
              <a:lnSpc>
                <a:spcPct val="100000"/>
              </a:lnSpc>
              <a:spcBef>
                <a:spcPts val="300"/>
              </a:spcBef>
              <a:buFont typeface="Arial" panose="020B0604020202020204" pitchFamily="34" charset="0"/>
              <a:buNone/>
            </a:pPr>
            <a:r>
              <a:rPr lang="en-US" dirty="0"/>
              <a:t>ATTORNEY NAME</a:t>
            </a:r>
          </a:p>
          <a:p>
            <a:pPr marL="0" lvl="0" indent="0" algn="ctr" defTabSz="914400" rtl="0" eaLnBrk="1" latinLnBrk="0" hangingPunct="1">
              <a:lnSpc>
                <a:spcPct val="100000"/>
              </a:lnSpc>
              <a:spcBef>
                <a:spcPts val="300"/>
              </a:spcBef>
              <a:buFont typeface="Arial" panose="020B0604020202020204" pitchFamily="34" charset="0"/>
              <a:buNone/>
            </a:pPr>
            <a:r>
              <a:rPr lang="en-US" dirty="0"/>
              <a:t>OFFICE LOCATION</a:t>
            </a:r>
          </a:p>
        </p:txBody>
      </p:sp>
      <p:sp>
        <p:nvSpPr>
          <p:cNvPr id="15" name="Text Placeholder 6">
            <a:extLst>
              <a:ext uri="{FF2B5EF4-FFF2-40B4-BE49-F238E27FC236}">
                <a16:creationId xmlns:a16="http://schemas.microsoft.com/office/drawing/2014/main" id="{430C3CAA-6CFD-4E5C-8CF0-566E19000389}"/>
              </a:ext>
            </a:extLst>
          </p:cNvPr>
          <p:cNvSpPr>
            <a:spLocks noGrp="1"/>
          </p:cNvSpPr>
          <p:nvPr>
            <p:ph type="body" sz="quarter" idx="14" hasCustomPrompt="1"/>
          </p:nvPr>
        </p:nvSpPr>
        <p:spPr>
          <a:xfrm>
            <a:off x="4271962" y="4726738"/>
            <a:ext cx="3657600" cy="914400"/>
          </a:xfrm>
          <a:prstGeom prst="rect">
            <a:avLst/>
          </a:prstGeom>
        </p:spPr>
        <p:txBody>
          <a:bodyPr/>
          <a:lstStyle>
            <a:lvl1pPr marL="0" indent="0" algn="ctr">
              <a:lnSpc>
                <a:spcPct val="100000"/>
              </a:lnSpc>
              <a:spcBef>
                <a:spcPts val="300"/>
              </a:spcBef>
              <a:buFontTx/>
              <a:buNone/>
              <a:defRPr lang="en-US" sz="1400" kern="1200" spc="300" baseline="0" dirty="0" smtClean="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ATTORNEY NAME</a:t>
            </a:r>
          </a:p>
          <a:p>
            <a:r>
              <a:rPr lang="en-US" dirty="0"/>
              <a:t>OFFICE LOCATION</a:t>
            </a:r>
          </a:p>
        </p:txBody>
      </p:sp>
      <p:sp>
        <p:nvSpPr>
          <p:cNvPr id="16" name="Text Placeholder 7">
            <a:extLst>
              <a:ext uri="{FF2B5EF4-FFF2-40B4-BE49-F238E27FC236}">
                <a16:creationId xmlns:a16="http://schemas.microsoft.com/office/drawing/2014/main" id="{A341ED34-7B83-4531-9F7E-FC401A125A64}"/>
              </a:ext>
            </a:extLst>
          </p:cNvPr>
          <p:cNvSpPr>
            <a:spLocks noGrp="1"/>
          </p:cNvSpPr>
          <p:nvPr>
            <p:ph type="body" sz="quarter" idx="15" hasCustomPrompt="1"/>
          </p:nvPr>
        </p:nvSpPr>
        <p:spPr>
          <a:xfrm>
            <a:off x="8153593" y="4726738"/>
            <a:ext cx="3657600" cy="914400"/>
          </a:xfrm>
          <a:prstGeom prst="rect">
            <a:avLst/>
          </a:prstGeom>
        </p:spPr>
        <p:txBody>
          <a:bodyPr/>
          <a:lstStyle>
            <a:lvl1pPr marL="0" indent="0" algn="ctr" defTabSz="914400" rtl="0" eaLnBrk="1" latinLnBrk="0" hangingPunct="1">
              <a:lnSpc>
                <a:spcPct val="100000"/>
              </a:lnSpc>
              <a:spcBef>
                <a:spcPts val="300"/>
              </a:spcBef>
              <a:buFontTx/>
              <a:buNone/>
              <a:defRPr lang="en-US" sz="1400" kern="1200" spc="300" baseline="0" dirty="0" smtClean="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dirty="0"/>
              <a:t>ATTORNEY NAME</a:t>
            </a:r>
          </a:p>
          <a:p>
            <a:r>
              <a:rPr lang="en-US" dirty="0"/>
              <a:t>OFFICE LOCATION</a:t>
            </a:r>
          </a:p>
        </p:txBody>
      </p:sp>
    </p:spTree>
    <p:extLst>
      <p:ext uri="{BB962C8B-B14F-4D97-AF65-F5344CB8AC3E}">
        <p14:creationId xmlns:p14="http://schemas.microsoft.com/office/powerpoint/2010/main" val="2585065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3"/>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E8DD6720-71D7-4276-BBBC-543C6B4CC2CA}"/>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9" name="Text Placeholder 14">
            <a:extLst>
              <a:ext uri="{FF2B5EF4-FFF2-40B4-BE49-F238E27FC236}">
                <a16:creationId xmlns:a16="http://schemas.microsoft.com/office/drawing/2014/main" id="{9B6AE3E6-579D-46D7-AABF-82F1B873164A}"/>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4">
            <a:extLst>
              <a:ext uri="{FF2B5EF4-FFF2-40B4-BE49-F238E27FC236}">
                <a16:creationId xmlns:a16="http://schemas.microsoft.com/office/drawing/2014/main" id="{CC117974-7830-4172-AE45-939B4F2CD31A}"/>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271D8B06-C612-4BE4-8195-1C43187F728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2" name="Text Placeholder 14">
            <a:extLst>
              <a:ext uri="{FF2B5EF4-FFF2-40B4-BE49-F238E27FC236}">
                <a16:creationId xmlns:a16="http://schemas.microsoft.com/office/drawing/2014/main" id="{1B8A529D-6632-4031-BA53-5E1D3E21174C}"/>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AEB94F32-5F85-48E9-8CA6-DB23085CA5A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102E53F7-0357-1B2F-284F-73A4EA3CBB24}"/>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6905286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F5265321-5CF4-E890-BA3D-FC6F0423A7E2}"/>
              </a:ext>
            </a:extLst>
          </p:cNvPr>
          <p:cNvSpPr/>
          <p:nvPr userDrawn="1"/>
        </p:nvSpPr>
        <p:spPr>
          <a:xfrm>
            <a:off x="3118104" y="6327648"/>
            <a:ext cx="749808" cy="414338"/>
          </a:xfrm>
          <a:prstGeom prst="roundRect">
            <a:avLst/>
          </a:prstGeom>
          <a:ln>
            <a:solidFill>
              <a:schemeClr val="bg2"/>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8753972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2"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F1072632-3AEA-40CD-8AE3-E0D92A221BD9}"/>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3618288431"/>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0" name="Text Placeholder 14">
            <a:extLst>
              <a:ext uri="{FF2B5EF4-FFF2-40B4-BE49-F238E27FC236}">
                <a16:creationId xmlns:a16="http://schemas.microsoft.com/office/drawing/2014/main" id="{6152334A-B704-4647-84A6-1976B836F7AA}"/>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Rectangle 11">
            <a:extLst>
              <a:ext uri="{FF2B5EF4-FFF2-40B4-BE49-F238E27FC236}">
                <a16:creationId xmlns:a16="http://schemas.microsoft.com/office/drawing/2014/main" id="{79D81A2E-DC11-4B80-8147-EFA5A7F82B0E}"/>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6671902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0" name="Text Placeholder 14">
            <a:extLst>
              <a:ext uri="{FF2B5EF4-FFF2-40B4-BE49-F238E27FC236}">
                <a16:creationId xmlns:a16="http://schemas.microsoft.com/office/drawing/2014/main" id="{EBED6696-3F40-49B3-8878-A6964F3FF68A}"/>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Rectangle 11">
            <a:extLst>
              <a:ext uri="{FF2B5EF4-FFF2-40B4-BE49-F238E27FC236}">
                <a16:creationId xmlns:a16="http://schemas.microsoft.com/office/drawing/2014/main" id="{5F51A2D2-391F-4C64-96C7-1432B78E2BE1}"/>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3219856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2"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97F62357-DF90-4683-9EE8-10073F211B4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TITLE</a:t>
            </a:r>
          </a:p>
        </p:txBody>
      </p:sp>
      <p:sp>
        <p:nvSpPr>
          <p:cNvPr id="13" name="Text Placeholder 14">
            <a:extLst>
              <a:ext uri="{FF2B5EF4-FFF2-40B4-BE49-F238E27FC236}">
                <a16:creationId xmlns:a16="http://schemas.microsoft.com/office/drawing/2014/main" id="{36120B6F-9669-4B87-91FC-7B62F14E5FB6}"/>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296B7E3C-1E79-4414-AC87-D58C64CEAC4A}"/>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77620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_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TITLE</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70C531CC-6D38-441F-8D0E-FB71B3831ADF}"/>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569203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A2ED847A-9B40-4765-9515-42CE09D49A28}"/>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TITLE</a:t>
            </a:r>
          </a:p>
        </p:txBody>
      </p:sp>
      <p:sp>
        <p:nvSpPr>
          <p:cNvPr id="13" name="Text Placeholder 14">
            <a:extLst>
              <a:ext uri="{FF2B5EF4-FFF2-40B4-BE49-F238E27FC236}">
                <a16:creationId xmlns:a16="http://schemas.microsoft.com/office/drawing/2014/main" id="{9F360DD3-3DE1-44C6-9A01-7AB17D37C427}"/>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0" name="Rectangle 9">
            <a:extLst>
              <a:ext uri="{FF2B5EF4-FFF2-40B4-BE49-F238E27FC236}">
                <a16:creationId xmlns:a16="http://schemas.microsoft.com/office/drawing/2014/main" id="{72F190F3-2598-4B0E-B7D1-6213651F98BD}"/>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321140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41003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01018789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0998004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11539589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313576" y="6476214"/>
              <a:ext cx="868131"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6836534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2873995"/>
      </p:ext>
    </p:extLst>
  </p:cSld>
  <p:clrMapOvr>
    <a:masterClrMapping/>
  </p:clrMapOvr>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9_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6096000" y="628650"/>
            <a:ext cx="5715000" cy="5486400"/>
          </a:xfrm>
          <a:prstGeom prst="rect">
            <a:avLst/>
          </a:prstGeom>
        </p:spPr>
        <p:txBody>
          <a:bodyPr>
            <a:normAutofit/>
          </a:bodyPr>
          <a:lstStyle>
            <a:lvl1pPr marL="342900" indent="-342900">
              <a:lnSpc>
                <a:spcPct val="100000"/>
              </a:lnSpc>
              <a:spcBef>
                <a:spcPts val="300"/>
              </a:spcBef>
              <a:buFont typeface="Arial" panose="020B060402020202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7388" indent="-342900">
              <a:buFont typeface="Calibri" panose="020F0502020204030204" pitchFamily="34" charset="0"/>
              <a:buChar char="–"/>
              <a:defRPr sz="2000">
                <a:latin typeface="Open Sans Light" panose="020B0306030504020204" pitchFamily="34" charset="0"/>
                <a:ea typeface="Open Sans Light" panose="020B0306030504020204" pitchFamily="34" charset="0"/>
                <a:cs typeface="Open Sans Light" panose="020B0306030504020204" pitchFamily="34" charset="0"/>
              </a:defRPr>
            </a:lvl2pPr>
            <a:lvl3pPr marL="1031875" indent="-344488">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44801341"/>
      </p:ext>
    </p:extLst>
  </p:cSld>
  <p:clrMapOvr>
    <a:masterClrMapping/>
  </p:clrMapOvr>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498967"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Light" panose="020B0306030504020204" pitchFamily="34" charset="0"/>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3393743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1075884" y="1613180"/>
            <a:ext cx="10040249"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Open Sans Light" charset="0"/>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73691" y="4140246"/>
            <a:ext cx="1042273"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651"/>
          </a:xfrm>
          <a:prstGeom prst="rect">
            <a:avLst/>
          </a:prstGeom>
          <a:noFill/>
        </p:spPr>
        <p:txBody>
          <a:bodyPr wrap="square" rtlCol="0">
            <a:spAutoFit/>
          </a:bodyPr>
          <a:lstStyle/>
          <a:p>
            <a:pPr algn="ctr">
              <a:lnSpc>
                <a:spcPts val="1620"/>
              </a:lnSpc>
            </a:pP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a:t>
            </a:r>
            <a:b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br>
            <a:r>
              <a:rPr lang="en-US" sz="1100" dirty="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rPr>
              <a:t>wide range of legal needs. Clients receive knowledgeable guidance from experienced, multi-disciplined industry and client service teams, all seamlessly connected across 21 offices in Alabama, Florida, Georgia, Louisiana, Maryland, Mississippi,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pic>
        <p:nvPicPr>
          <p:cNvPr id="16" name="Graphic 15">
            <a:extLst>
              <a:ext uri="{FF2B5EF4-FFF2-40B4-BE49-F238E27FC236}">
                <a16:creationId xmlns:a16="http://schemas.microsoft.com/office/drawing/2014/main" id="{16702A56-F8BD-4883-868A-BF99C0595C9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665906" y="3510046"/>
            <a:ext cx="552450" cy="552450"/>
          </a:xfrm>
          <a:prstGeom prst="rect">
            <a:avLst/>
          </a:prstGeom>
        </p:spPr>
      </p:pic>
      <p:sp>
        <p:nvSpPr>
          <p:cNvPr id="19" name="Rectangle 18">
            <a:extLst>
              <a:ext uri="{FF2B5EF4-FFF2-40B4-BE49-F238E27FC236}">
                <a16:creationId xmlns:a16="http://schemas.microsoft.com/office/drawing/2014/main" id="{96FC3433-DCBB-4866-ABF7-8B8E191533CF}"/>
              </a:ext>
            </a:extLst>
          </p:cNvPr>
          <p:cNvSpPr/>
          <p:nvPr userDrawn="1"/>
        </p:nvSpPr>
        <p:spPr>
          <a:xfrm>
            <a:off x="9427631" y="4140246"/>
            <a:ext cx="102900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TWITTER</a:t>
            </a:r>
          </a:p>
        </p:txBody>
      </p:sp>
      <p:sp>
        <p:nvSpPr>
          <p:cNvPr id="21" name="Rectangle 20">
            <a:extLst>
              <a:ext uri="{FF2B5EF4-FFF2-40B4-BE49-F238E27FC236}">
                <a16:creationId xmlns:a16="http://schemas.microsoft.com/office/drawing/2014/main" id="{43DE0751-F48A-4E59-91EF-79F744409C3B}"/>
              </a:ext>
            </a:extLst>
          </p:cNvPr>
          <p:cNvSpPr/>
          <p:nvPr userDrawn="1"/>
        </p:nvSpPr>
        <p:spPr>
          <a:xfrm>
            <a:off x="4158540" y="4140246"/>
            <a:ext cx="1267591"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74353" y="4140246"/>
            <a:ext cx="1120820" cy="353943"/>
          </a:xfrm>
          <a:prstGeom prst="rect">
            <a:avLst/>
          </a:prstGeom>
        </p:spPr>
        <p:txBody>
          <a:bodyPr wrap="none">
            <a:spAutoFit/>
          </a:bodyPr>
          <a:lstStyle/>
          <a:p>
            <a:pPr algn="ctr"/>
            <a:r>
              <a:rPr lang="en-US" sz="1700" dirty="0">
                <a:solidFill>
                  <a:schemeClr val="bg1"/>
                </a:solidFill>
                <a:latin typeface="Open Sans Light" panose="020B0306030504020204" pitchFamily="34" charset="0"/>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958536" y="3514829"/>
            <a:ext cx="552450" cy="552450"/>
          </a:xfrm>
          <a:prstGeom prst="rect">
            <a:avLst/>
          </a:prstGeom>
        </p:spPr>
      </p:pic>
    </p:spTree>
    <p:extLst>
      <p:ext uri="{BB962C8B-B14F-4D97-AF65-F5344CB8AC3E}">
        <p14:creationId xmlns:p14="http://schemas.microsoft.com/office/powerpoint/2010/main" val="300795928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defRPr>
            </a:lvl1pPr>
          </a:lstStyle>
          <a:p>
            <a:endParaRPr lang="en-US" dirty="0"/>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ts val="0"/>
              </a:spcBef>
              <a:buNone/>
              <a:defRPr sz="1400">
                <a:solidFill>
                  <a:schemeClr val="bg1"/>
                </a:solidFill>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755272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591284AF-5B3B-44BF-BF76-1B4A1A38F7EC}"/>
              </a:ext>
            </a:extLst>
          </p:cNvPr>
          <p:cNvSpPr>
            <a:spLocks noGrp="1"/>
          </p:cNvSpPr>
          <p:nvPr>
            <p:ph type="dt" sz="half" idx="10"/>
          </p:nvPr>
        </p:nvSpPr>
        <p:spPr/>
        <p:txBody>
          <a:bodyPr/>
          <a:lstStyle/>
          <a:p>
            <a:fld id="{5B94CAB1-7F70-4FAA-83BB-7E489C0BCEFD}" type="datetimeFigureOut">
              <a:rPr lang="de-AT" smtClean="0"/>
              <a:t>21.04.2025</a:t>
            </a:fld>
            <a:endParaRPr lang="de-AT"/>
          </a:p>
        </p:txBody>
      </p:sp>
      <p:sp>
        <p:nvSpPr>
          <p:cNvPr id="3" name="Fußzeilenplatzhalter 2">
            <a:extLst>
              <a:ext uri="{FF2B5EF4-FFF2-40B4-BE49-F238E27FC236}">
                <a16:creationId xmlns:a16="http://schemas.microsoft.com/office/drawing/2014/main" id="{2D00718F-2A17-41E8-A27B-B8234DA0C489}"/>
              </a:ext>
            </a:extLst>
          </p:cNvPr>
          <p:cNvSpPr>
            <a:spLocks noGrp="1"/>
          </p:cNvSpPr>
          <p:nvPr>
            <p:ph type="ftr" sz="quarter" idx="11"/>
          </p:nvPr>
        </p:nvSpPr>
        <p:spPr/>
        <p:txBody>
          <a:bodyPr/>
          <a:lstStyle/>
          <a:p>
            <a:endParaRPr lang="de-AT"/>
          </a:p>
        </p:txBody>
      </p:sp>
      <p:sp>
        <p:nvSpPr>
          <p:cNvPr id="4" name="Foliennummernplatzhalter 3">
            <a:extLst>
              <a:ext uri="{FF2B5EF4-FFF2-40B4-BE49-F238E27FC236}">
                <a16:creationId xmlns:a16="http://schemas.microsoft.com/office/drawing/2014/main" id="{524F0EC0-19A0-4307-A8A4-80AF108E1ED2}"/>
              </a:ext>
            </a:extLst>
          </p:cNvPr>
          <p:cNvSpPr>
            <a:spLocks noGrp="1"/>
          </p:cNvSpPr>
          <p:nvPr>
            <p:ph type="sldNum" sz="quarter" idx="12"/>
          </p:nvPr>
        </p:nvSpPr>
        <p:spPr/>
        <p:txBody>
          <a:bodyPr/>
          <a:lstStyle/>
          <a:p>
            <a:fld id="{D7C07A06-13F1-4B5A-B124-C4B70AF12CB9}" type="slidenum">
              <a:rPr lang="de-AT" smtClean="0"/>
              <a:t>‹#›</a:t>
            </a:fld>
            <a:endParaRPr lang="de-AT"/>
          </a:p>
        </p:txBody>
      </p:sp>
    </p:spTree>
    <p:extLst>
      <p:ext uri="{BB962C8B-B14F-4D97-AF65-F5344CB8AC3E}">
        <p14:creationId xmlns:p14="http://schemas.microsoft.com/office/powerpoint/2010/main" val="35505916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DE40F0A-CA60-4B85-B9D5-F51CCD21BB1F}"/>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de-AT"/>
          </a:p>
        </p:txBody>
      </p:sp>
      <p:sp>
        <p:nvSpPr>
          <p:cNvPr id="3" name="Untertitel 2">
            <a:extLst>
              <a:ext uri="{FF2B5EF4-FFF2-40B4-BE49-F238E27FC236}">
                <a16:creationId xmlns:a16="http://schemas.microsoft.com/office/drawing/2014/main" id="{DD9573B9-9648-426C-A1CA-EFCF7E5DDCF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AT"/>
          </a:p>
        </p:txBody>
      </p:sp>
      <p:sp>
        <p:nvSpPr>
          <p:cNvPr id="4" name="Datumsplatzhalter 3">
            <a:extLst>
              <a:ext uri="{FF2B5EF4-FFF2-40B4-BE49-F238E27FC236}">
                <a16:creationId xmlns:a16="http://schemas.microsoft.com/office/drawing/2014/main" id="{554D7147-E393-4FF1-84F7-BE2C9C240840}"/>
              </a:ext>
            </a:extLst>
          </p:cNvPr>
          <p:cNvSpPr>
            <a:spLocks noGrp="1"/>
          </p:cNvSpPr>
          <p:nvPr>
            <p:ph type="dt" sz="half" idx="10"/>
          </p:nvPr>
        </p:nvSpPr>
        <p:spPr/>
        <p:txBody>
          <a:bodyPr/>
          <a:lstStyle/>
          <a:p>
            <a:fld id="{5B94CAB1-7F70-4FAA-83BB-7E489C0BCEFD}" type="datetimeFigureOut">
              <a:rPr lang="de-AT" smtClean="0"/>
              <a:t>21.04.2025</a:t>
            </a:fld>
            <a:endParaRPr lang="de-AT"/>
          </a:p>
        </p:txBody>
      </p:sp>
      <p:sp>
        <p:nvSpPr>
          <p:cNvPr id="5" name="Fußzeilenplatzhalter 4">
            <a:extLst>
              <a:ext uri="{FF2B5EF4-FFF2-40B4-BE49-F238E27FC236}">
                <a16:creationId xmlns:a16="http://schemas.microsoft.com/office/drawing/2014/main" id="{6E9E79D2-D47A-4B8C-AF14-50F5C0D4BD86}"/>
              </a:ext>
            </a:extLst>
          </p:cNvPr>
          <p:cNvSpPr>
            <a:spLocks noGrp="1"/>
          </p:cNvSpPr>
          <p:nvPr>
            <p:ph type="ftr" sz="quarter" idx="11"/>
          </p:nvPr>
        </p:nvSpPr>
        <p:spPr/>
        <p:txBody>
          <a:bodyPr/>
          <a:lstStyle/>
          <a:p>
            <a:endParaRPr lang="de-AT"/>
          </a:p>
        </p:txBody>
      </p:sp>
      <p:sp>
        <p:nvSpPr>
          <p:cNvPr id="6" name="Foliennummernplatzhalter 5">
            <a:extLst>
              <a:ext uri="{FF2B5EF4-FFF2-40B4-BE49-F238E27FC236}">
                <a16:creationId xmlns:a16="http://schemas.microsoft.com/office/drawing/2014/main" id="{5021F92C-E151-4886-ADC3-D2F0B4CA75CB}"/>
              </a:ext>
            </a:extLst>
          </p:cNvPr>
          <p:cNvSpPr>
            <a:spLocks noGrp="1"/>
          </p:cNvSpPr>
          <p:nvPr>
            <p:ph type="sldNum" sz="quarter" idx="12"/>
          </p:nvPr>
        </p:nvSpPr>
        <p:spPr/>
        <p:txBody>
          <a:bodyPr/>
          <a:lstStyle/>
          <a:p>
            <a:fld id="{D7C07A06-13F1-4B5A-B124-C4B70AF12CB9}" type="slidenum">
              <a:rPr lang="de-AT" smtClean="0"/>
              <a:t>‹#›</a:t>
            </a:fld>
            <a:endParaRPr lang="de-AT"/>
          </a:p>
        </p:txBody>
      </p:sp>
    </p:spTree>
    <p:extLst>
      <p:ext uri="{BB962C8B-B14F-4D97-AF65-F5344CB8AC3E}">
        <p14:creationId xmlns:p14="http://schemas.microsoft.com/office/powerpoint/2010/main" val="334726483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itle/Subtitle Only - No hash mark">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4" name="TextBox 7">
            <a:extLst>
              <a:ext uri="{FF2B5EF4-FFF2-40B4-BE49-F238E27FC236}">
                <a16:creationId xmlns:a16="http://schemas.microsoft.com/office/drawing/2014/main" id="{2355CB8C-9D42-4F46-82EC-1E66DC489858}"/>
              </a:ext>
            </a:extLst>
          </p:cNvPr>
          <p:cNvSpPr txBox="1">
            <a:spLocks noChangeArrowheads="1"/>
          </p:cNvSpPr>
          <p:nvPr/>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088828073"/>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844626"/>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138358" y="-130628"/>
            <a:ext cx="12468716" cy="7119256"/>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190595800"/>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C5C58C17-AC52-42A1-8B85-013CDCB5E98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0E3B9817-7AE3-4D75-B57D-75020D9B88CD}"/>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6990027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0" y="1"/>
            <a:ext cx="12192000" cy="342900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338426751"/>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1065190" y="834499"/>
            <a:ext cx="6777146" cy="285750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11256831"/>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2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4349664" y="571501"/>
            <a:ext cx="3492672" cy="2857500"/>
          </a:xfrm>
          <a:prstGeom prst="rect">
            <a:avLst/>
          </a:prstGeom>
          <a:solidFill>
            <a:schemeClr val="bg1">
              <a:lumMod val="95000"/>
            </a:schemeClr>
          </a:solidFill>
        </p:spPr>
        <p:txBody>
          <a:bodyPr>
            <a:normAutofit/>
          </a:bodyPr>
          <a:lstStyle>
            <a:lvl1pPr>
              <a:defRPr sz="1051"/>
            </a:lvl1pPr>
          </a:lstStyle>
          <a:p>
            <a:endParaRPr lang="en-US"/>
          </a:p>
        </p:txBody>
      </p:sp>
      <p:sp>
        <p:nvSpPr>
          <p:cNvPr id="7" name="Picture Placeholder 8">
            <a:extLst>
              <a:ext uri="{FF2B5EF4-FFF2-40B4-BE49-F238E27FC236}">
                <a16:creationId xmlns:a16="http://schemas.microsoft.com/office/drawing/2014/main" id="{1C3FCBF3-5D0C-D845-9E95-AFAFC8A201F5}"/>
              </a:ext>
            </a:extLst>
          </p:cNvPr>
          <p:cNvSpPr>
            <a:spLocks noGrp="1"/>
          </p:cNvSpPr>
          <p:nvPr>
            <p:ph type="pic" sz="quarter" idx="15"/>
          </p:nvPr>
        </p:nvSpPr>
        <p:spPr>
          <a:xfrm>
            <a:off x="4349664" y="3429000"/>
            <a:ext cx="3492672" cy="285750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646566958"/>
      </p:ext>
    </p:extLst>
  </p:cSld>
  <p:clrMapOvr>
    <a:masterClrMapping/>
  </p:clrMapOvr>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3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4349663" y="834499"/>
            <a:ext cx="6777146" cy="285750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764769410"/>
      </p:ext>
    </p:extLst>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4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892239" y="1"/>
            <a:ext cx="11299761" cy="4223657"/>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888584114"/>
      </p:ext>
    </p:extLst>
  </p:cSld>
  <p:clrMapOvr>
    <a:masterClrMapping/>
  </p:clrMapOvr>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5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4221007" y="565907"/>
            <a:ext cx="3211661" cy="5726187"/>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886953025"/>
      </p:ext>
    </p:extLst>
  </p:cSld>
  <p:clrMapOvr>
    <a:masterClrMapping/>
  </p:clrMapOvr>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6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0" y="2634343"/>
            <a:ext cx="11299761" cy="4223657"/>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331933211"/>
      </p:ext>
    </p:extLst>
  </p:cSld>
  <p:clrMapOvr>
    <a:masterClrMapping/>
  </p:clrMapOvr>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7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4796321" y="565907"/>
            <a:ext cx="6633150" cy="2863094"/>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83551899"/>
      </p:ext>
    </p:extLst>
  </p:cSld>
  <p:clrMapOvr>
    <a:masterClrMapping/>
  </p:clrMapOv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8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834971" y="814862"/>
            <a:ext cx="2271406" cy="2219689"/>
          </a:xfrm>
          <a:prstGeom prst="rect">
            <a:avLst/>
          </a:prstGeom>
          <a:solidFill>
            <a:schemeClr val="bg1">
              <a:lumMod val="95000"/>
            </a:schemeClr>
          </a:solidFill>
        </p:spPr>
        <p:txBody>
          <a:bodyPr>
            <a:normAutofit/>
          </a:bodyPr>
          <a:lstStyle>
            <a:lvl1pPr>
              <a:defRPr sz="1051"/>
            </a:lvl1pPr>
          </a:lstStyle>
          <a:p>
            <a:endParaRPr lang="en-US"/>
          </a:p>
        </p:txBody>
      </p:sp>
      <p:sp>
        <p:nvSpPr>
          <p:cNvPr id="10" name="Picture Placeholder 8">
            <a:extLst>
              <a:ext uri="{FF2B5EF4-FFF2-40B4-BE49-F238E27FC236}">
                <a16:creationId xmlns:a16="http://schemas.microsoft.com/office/drawing/2014/main" id="{F69AF23F-99D1-E744-AD88-DBDD9FE0A788}"/>
              </a:ext>
            </a:extLst>
          </p:cNvPr>
          <p:cNvSpPr>
            <a:spLocks noGrp="1"/>
          </p:cNvSpPr>
          <p:nvPr>
            <p:ph type="pic" sz="quarter" idx="15"/>
          </p:nvPr>
        </p:nvSpPr>
        <p:spPr>
          <a:xfrm>
            <a:off x="3106377" y="814862"/>
            <a:ext cx="2271406" cy="2219689"/>
          </a:xfrm>
          <a:prstGeom prst="rect">
            <a:avLst/>
          </a:prstGeom>
          <a:solidFill>
            <a:schemeClr val="bg1">
              <a:lumMod val="95000"/>
            </a:schemeClr>
          </a:solidFill>
        </p:spPr>
        <p:txBody>
          <a:bodyPr>
            <a:normAutofit/>
          </a:bodyPr>
          <a:lstStyle>
            <a:lvl1pPr>
              <a:defRPr sz="1051"/>
            </a:lvl1pPr>
          </a:lstStyle>
          <a:p>
            <a:endParaRPr lang="en-US"/>
          </a:p>
        </p:txBody>
      </p:sp>
      <p:sp>
        <p:nvSpPr>
          <p:cNvPr id="11" name="Picture Placeholder 8">
            <a:extLst>
              <a:ext uri="{FF2B5EF4-FFF2-40B4-BE49-F238E27FC236}">
                <a16:creationId xmlns:a16="http://schemas.microsoft.com/office/drawing/2014/main" id="{66457F72-37EA-F647-BD96-92A0C67EA63B}"/>
              </a:ext>
            </a:extLst>
          </p:cNvPr>
          <p:cNvSpPr>
            <a:spLocks noGrp="1"/>
          </p:cNvSpPr>
          <p:nvPr>
            <p:ph type="pic" sz="quarter" idx="16"/>
          </p:nvPr>
        </p:nvSpPr>
        <p:spPr>
          <a:xfrm>
            <a:off x="5377783" y="814862"/>
            <a:ext cx="2271406" cy="2219689"/>
          </a:xfrm>
          <a:prstGeom prst="rect">
            <a:avLst/>
          </a:prstGeom>
          <a:solidFill>
            <a:schemeClr val="bg1">
              <a:lumMod val="95000"/>
            </a:schemeClr>
          </a:solidFill>
        </p:spPr>
        <p:txBody>
          <a:bodyPr>
            <a:normAutofit/>
          </a:bodyPr>
          <a:lstStyle>
            <a:lvl1pPr>
              <a:defRPr sz="1051"/>
            </a:lvl1pPr>
          </a:lstStyle>
          <a:p>
            <a:endParaRPr lang="en-US"/>
          </a:p>
        </p:txBody>
      </p:sp>
      <p:sp>
        <p:nvSpPr>
          <p:cNvPr id="12" name="Picture Placeholder 8">
            <a:extLst>
              <a:ext uri="{FF2B5EF4-FFF2-40B4-BE49-F238E27FC236}">
                <a16:creationId xmlns:a16="http://schemas.microsoft.com/office/drawing/2014/main" id="{1B9E0E32-A446-0A40-98DE-9C29144BF807}"/>
              </a:ext>
            </a:extLst>
          </p:cNvPr>
          <p:cNvSpPr>
            <a:spLocks noGrp="1"/>
          </p:cNvSpPr>
          <p:nvPr>
            <p:ph type="pic" sz="quarter" idx="17"/>
          </p:nvPr>
        </p:nvSpPr>
        <p:spPr>
          <a:xfrm>
            <a:off x="7649189" y="814862"/>
            <a:ext cx="2271406" cy="2219689"/>
          </a:xfrm>
          <a:prstGeom prst="rect">
            <a:avLst/>
          </a:prstGeom>
          <a:solidFill>
            <a:schemeClr val="bg1">
              <a:lumMod val="95000"/>
            </a:schemeClr>
          </a:solidFill>
        </p:spPr>
        <p:txBody>
          <a:bodyPr>
            <a:normAutofit/>
          </a:bodyPr>
          <a:lstStyle>
            <a:lvl1pPr>
              <a:defRPr sz="1051"/>
            </a:lvl1pPr>
          </a:lstStyle>
          <a:p>
            <a:endParaRPr lang="en-US"/>
          </a:p>
        </p:txBody>
      </p:sp>
      <p:sp>
        <p:nvSpPr>
          <p:cNvPr id="13" name="Picture Placeholder 8">
            <a:extLst>
              <a:ext uri="{FF2B5EF4-FFF2-40B4-BE49-F238E27FC236}">
                <a16:creationId xmlns:a16="http://schemas.microsoft.com/office/drawing/2014/main" id="{46FD6768-F66D-6541-8489-C3C228FDC8BF}"/>
              </a:ext>
            </a:extLst>
          </p:cNvPr>
          <p:cNvSpPr>
            <a:spLocks noGrp="1"/>
          </p:cNvSpPr>
          <p:nvPr>
            <p:ph type="pic" sz="quarter" idx="18"/>
          </p:nvPr>
        </p:nvSpPr>
        <p:spPr>
          <a:xfrm>
            <a:off x="9920595" y="814862"/>
            <a:ext cx="2271406" cy="2219689"/>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650172772"/>
      </p:ext>
    </p:extLst>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9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5510647" y="0"/>
            <a:ext cx="6681353" cy="4409768"/>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376620367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B685C183-8448-4CCD-8144-7124F66433B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8253C8CC-72B5-4C16-B74E-4EF255828FB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05647106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0_Slide">
    <p:spTree>
      <p:nvGrpSpPr>
        <p:cNvPr id="1" name=""/>
        <p:cNvGrpSpPr/>
        <p:nvPr/>
      </p:nvGrpSpPr>
      <p:grpSpPr>
        <a:xfrm>
          <a:off x="0" y="0"/>
          <a:ext cx="0" cy="0"/>
          <a:chOff x="0" y="0"/>
          <a:chExt cx="0" cy="0"/>
        </a:xfrm>
      </p:grpSpPr>
      <p:sp>
        <p:nvSpPr>
          <p:cNvPr id="3" name="Picture Placeholder 8">
            <a:extLst>
              <a:ext uri="{FF2B5EF4-FFF2-40B4-BE49-F238E27FC236}">
                <a16:creationId xmlns:a16="http://schemas.microsoft.com/office/drawing/2014/main" id="{DF1D7179-977E-404F-92F2-9D63C45BC6F7}"/>
              </a:ext>
            </a:extLst>
          </p:cNvPr>
          <p:cNvSpPr>
            <a:spLocks noGrp="1"/>
          </p:cNvSpPr>
          <p:nvPr>
            <p:ph type="pic" sz="quarter" idx="14"/>
          </p:nvPr>
        </p:nvSpPr>
        <p:spPr>
          <a:xfrm>
            <a:off x="8128000" y="3105807"/>
            <a:ext cx="4064000" cy="3752193"/>
          </a:xfrm>
          <a:prstGeom prst="rect">
            <a:avLst/>
          </a:prstGeom>
          <a:solidFill>
            <a:schemeClr val="bg1">
              <a:lumMod val="95000"/>
            </a:schemeClr>
          </a:solidFill>
        </p:spPr>
        <p:txBody>
          <a:bodyPr>
            <a:normAutofit/>
          </a:bodyPr>
          <a:lstStyle>
            <a:lvl1pPr>
              <a:defRPr sz="1051"/>
            </a:lvl1pPr>
          </a:lstStyle>
          <a:p>
            <a:endParaRPr lang="en-US"/>
          </a:p>
        </p:txBody>
      </p:sp>
      <p:sp>
        <p:nvSpPr>
          <p:cNvPr id="8" name="Picture Placeholder 8">
            <a:extLst>
              <a:ext uri="{FF2B5EF4-FFF2-40B4-BE49-F238E27FC236}">
                <a16:creationId xmlns:a16="http://schemas.microsoft.com/office/drawing/2014/main" id="{8740A307-4274-F644-A27E-3EA1535D5D4D}"/>
              </a:ext>
            </a:extLst>
          </p:cNvPr>
          <p:cNvSpPr>
            <a:spLocks noGrp="1"/>
          </p:cNvSpPr>
          <p:nvPr>
            <p:ph type="pic" sz="quarter" idx="15"/>
          </p:nvPr>
        </p:nvSpPr>
        <p:spPr>
          <a:xfrm>
            <a:off x="4064000" y="3105807"/>
            <a:ext cx="4064000" cy="3752193"/>
          </a:xfrm>
          <a:prstGeom prst="rect">
            <a:avLst/>
          </a:prstGeom>
          <a:solidFill>
            <a:schemeClr val="bg1">
              <a:lumMod val="95000"/>
            </a:schemeClr>
          </a:solidFill>
        </p:spPr>
        <p:txBody>
          <a:bodyPr>
            <a:normAutofit/>
          </a:bodyPr>
          <a:lstStyle>
            <a:lvl1pPr>
              <a:defRPr sz="1051"/>
            </a:lvl1pPr>
          </a:lstStyle>
          <a:p>
            <a:endParaRPr lang="en-US"/>
          </a:p>
        </p:txBody>
      </p:sp>
      <p:sp>
        <p:nvSpPr>
          <p:cNvPr id="9" name="Picture Placeholder 8">
            <a:extLst>
              <a:ext uri="{FF2B5EF4-FFF2-40B4-BE49-F238E27FC236}">
                <a16:creationId xmlns:a16="http://schemas.microsoft.com/office/drawing/2014/main" id="{EC245FC7-4DD9-DA4D-B31B-ECF23AECF588}"/>
              </a:ext>
            </a:extLst>
          </p:cNvPr>
          <p:cNvSpPr>
            <a:spLocks noGrp="1"/>
          </p:cNvSpPr>
          <p:nvPr>
            <p:ph type="pic" sz="quarter" idx="16"/>
          </p:nvPr>
        </p:nvSpPr>
        <p:spPr>
          <a:xfrm>
            <a:off x="0" y="3105807"/>
            <a:ext cx="4064000" cy="3752193"/>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461921134"/>
      </p:ext>
    </p:extLst>
  </p:cSld>
  <p:clrMapOvr>
    <a:masterClrMapping/>
  </p:clrMapOvr>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1_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EC245FC7-4DD9-DA4D-B31B-ECF23AECF588}"/>
              </a:ext>
            </a:extLst>
          </p:cNvPr>
          <p:cNvSpPr>
            <a:spLocks noGrp="1"/>
          </p:cNvSpPr>
          <p:nvPr>
            <p:ph type="pic" sz="quarter" idx="16"/>
          </p:nvPr>
        </p:nvSpPr>
        <p:spPr>
          <a:xfrm>
            <a:off x="951427" y="3429000"/>
            <a:ext cx="5144573" cy="2467395"/>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642597948"/>
      </p:ext>
    </p:extLst>
  </p:cSld>
  <p:clrMapOvr>
    <a:masterClrMapping/>
  </p:clrMapOvr>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2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4D27344-07AF-3C49-B55A-6E71147DB3AF}"/>
              </a:ext>
            </a:extLst>
          </p:cNvPr>
          <p:cNvSpPr>
            <a:spLocks noGrp="1"/>
          </p:cNvSpPr>
          <p:nvPr>
            <p:ph type="pic" sz="quarter" idx="17"/>
          </p:nvPr>
        </p:nvSpPr>
        <p:spPr>
          <a:xfrm>
            <a:off x="1065190" y="834499"/>
            <a:ext cx="11126810" cy="2857500"/>
          </a:xfrm>
          <a:prstGeom prst="rect">
            <a:avLst/>
          </a:prstGeom>
          <a:solidFill>
            <a:schemeClr val="bg1">
              <a:lumMod val="95000"/>
            </a:schemeClr>
          </a:solidFill>
        </p:spPr>
        <p:txBody>
          <a:bodyPr>
            <a:normAutofit/>
          </a:bodyPr>
          <a:lstStyle>
            <a:lvl1pPr>
              <a:defRPr sz="1051"/>
            </a:lvl1pPr>
          </a:lstStyle>
          <a:p>
            <a:endParaRPr lang="en-US"/>
          </a:p>
        </p:txBody>
      </p:sp>
      <p:sp>
        <p:nvSpPr>
          <p:cNvPr id="9" name="Picture Placeholder 8">
            <a:extLst>
              <a:ext uri="{FF2B5EF4-FFF2-40B4-BE49-F238E27FC236}">
                <a16:creationId xmlns:a16="http://schemas.microsoft.com/office/drawing/2014/main" id="{EC245FC7-4DD9-DA4D-B31B-ECF23AECF588}"/>
              </a:ext>
            </a:extLst>
          </p:cNvPr>
          <p:cNvSpPr>
            <a:spLocks noGrp="1"/>
          </p:cNvSpPr>
          <p:nvPr>
            <p:ph type="pic" sz="quarter" idx="16"/>
          </p:nvPr>
        </p:nvSpPr>
        <p:spPr>
          <a:xfrm>
            <a:off x="7049282" y="2412243"/>
            <a:ext cx="3076557" cy="5428273"/>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636774917"/>
      </p:ext>
    </p:extLst>
  </p:cSld>
  <p:clrMapOvr>
    <a:masterClrMapping/>
  </p:clrMapOvr>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3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4D27344-07AF-3C49-B55A-6E71147DB3AF}"/>
              </a:ext>
            </a:extLst>
          </p:cNvPr>
          <p:cNvSpPr>
            <a:spLocks noGrp="1"/>
          </p:cNvSpPr>
          <p:nvPr>
            <p:ph type="pic" sz="quarter" idx="17"/>
          </p:nvPr>
        </p:nvSpPr>
        <p:spPr>
          <a:xfrm>
            <a:off x="0" y="834499"/>
            <a:ext cx="11126810" cy="2857500"/>
          </a:xfrm>
          <a:prstGeom prst="rect">
            <a:avLst/>
          </a:prstGeom>
          <a:solidFill>
            <a:schemeClr val="bg1">
              <a:lumMod val="95000"/>
            </a:schemeClr>
          </a:solidFill>
        </p:spPr>
        <p:txBody>
          <a:bodyPr>
            <a:normAutofit/>
          </a:bodyPr>
          <a:lstStyle>
            <a:lvl1pPr>
              <a:defRPr sz="1051"/>
            </a:lvl1pPr>
          </a:lstStyle>
          <a:p>
            <a:endParaRPr lang="en-US"/>
          </a:p>
        </p:txBody>
      </p:sp>
      <p:sp>
        <p:nvSpPr>
          <p:cNvPr id="9" name="Picture Placeholder 8">
            <a:extLst>
              <a:ext uri="{FF2B5EF4-FFF2-40B4-BE49-F238E27FC236}">
                <a16:creationId xmlns:a16="http://schemas.microsoft.com/office/drawing/2014/main" id="{EC245FC7-4DD9-DA4D-B31B-ECF23AECF588}"/>
              </a:ext>
            </a:extLst>
          </p:cNvPr>
          <p:cNvSpPr>
            <a:spLocks noGrp="1"/>
          </p:cNvSpPr>
          <p:nvPr>
            <p:ph type="pic" sz="quarter" idx="16"/>
          </p:nvPr>
        </p:nvSpPr>
        <p:spPr>
          <a:xfrm>
            <a:off x="1496386" y="2477619"/>
            <a:ext cx="3930327" cy="5294960"/>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637353396"/>
      </p:ext>
    </p:extLst>
  </p:cSld>
  <p:clrMapOvr>
    <a:masterClrMapping/>
  </p:clrMapOvr>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4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4D27344-07AF-3C49-B55A-6E71147DB3AF}"/>
              </a:ext>
            </a:extLst>
          </p:cNvPr>
          <p:cNvSpPr>
            <a:spLocks noGrp="1"/>
          </p:cNvSpPr>
          <p:nvPr>
            <p:ph type="pic" sz="quarter" idx="17"/>
          </p:nvPr>
        </p:nvSpPr>
        <p:spPr>
          <a:xfrm>
            <a:off x="7760252" y="1759224"/>
            <a:ext cx="5076161" cy="3179586"/>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1377706168"/>
      </p:ext>
    </p:extLst>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5_Slide">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74D27344-07AF-3C49-B55A-6E71147DB3AF}"/>
              </a:ext>
            </a:extLst>
          </p:cNvPr>
          <p:cNvSpPr>
            <a:spLocks noGrp="1"/>
          </p:cNvSpPr>
          <p:nvPr>
            <p:ph type="pic" sz="quarter" idx="17"/>
          </p:nvPr>
        </p:nvSpPr>
        <p:spPr>
          <a:xfrm>
            <a:off x="0" y="2634343"/>
            <a:ext cx="11299761" cy="4223657"/>
          </a:xfrm>
          <a:prstGeom prst="rect">
            <a:avLst/>
          </a:prstGeom>
          <a:solidFill>
            <a:schemeClr val="bg1">
              <a:lumMod val="95000"/>
            </a:schemeClr>
          </a:solidFill>
        </p:spPr>
        <p:txBody>
          <a:bodyPr>
            <a:normAutofit/>
          </a:bodyPr>
          <a:lstStyle>
            <a:lvl1pPr>
              <a:defRPr sz="1051"/>
            </a:lvl1pPr>
          </a:lstStyle>
          <a:p>
            <a:endParaRPr lang="en-US"/>
          </a:p>
        </p:txBody>
      </p:sp>
    </p:spTree>
    <p:extLst>
      <p:ext uri="{BB962C8B-B14F-4D97-AF65-F5344CB8AC3E}">
        <p14:creationId xmlns:p14="http://schemas.microsoft.com/office/powerpoint/2010/main" val="2232324684"/>
      </p:ext>
    </p:extLst>
  </p:cSld>
  <p:clrMapOvr>
    <a:masterClrMapping/>
  </p:clrMapOvr>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tretch>
            <a:fill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45571016"/>
      </p:ext>
    </p:extLst>
  </p:cSld>
  <p:clrMapOvr>
    <a:masterClrMapping/>
  </p:clrMapOvr>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tretch>
            <a:fill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6A41164-9E02-42F7-95BC-2C9613F1A08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a:t>TITLE SLIDE: OPTION 2</a:t>
            </a:r>
          </a:p>
        </p:txBody>
      </p:sp>
      <p:sp>
        <p:nvSpPr>
          <p:cNvPr id="18" name="Text Placeholder 14">
            <a:extLst>
              <a:ext uri="{FF2B5EF4-FFF2-40B4-BE49-F238E27FC236}">
                <a16:creationId xmlns:a16="http://schemas.microsoft.com/office/drawing/2014/main" id="{E7D0411B-98D2-40EE-A7C9-A6A4CDA8D6AF}"/>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MONTH YEAR</a:t>
            </a:r>
          </a:p>
        </p:txBody>
      </p:sp>
      <p:sp>
        <p:nvSpPr>
          <p:cNvPr id="19" name="Text Placeholder 14">
            <a:extLst>
              <a:ext uri="{FF2B5EF4-FFF2-40B4-BE49-F238E27FC236}">
                <a16:creationId xmlns:a16="http://schemas.microsoft.com/office/drawing/2014/main" id="{63BFF807-FD44-4F0D-B39A-70F80C78AF6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20" name="Text Placeholder 14">
            <a:extLst>
              <a:ext uri="{FF2B5EF4-FFF2-40B4-BE49-F238E27FC236}">
                <a16:creationId xmlns:a16="http://schemas.microsoft.com/office/drawing/2014/main" id="{31C4B28D-0969-490A-B13C-C8EB39316D59}"/>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21" name="Text Placeholder 14">
            <a:extLst>
              <a:ext uri="{FF2B5EF4-FFF2-40B4-BE49-F238E27FC236}">
                <a16:creationId xmlns:a16="http://schemas.microsoft.com/office/drawing/2014/main" id="{AE57C29B-D449-4CC7-B381-424636D9EEB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13" name="Rectangle 12">
            <a:extLst>
              <a:ext uri="{FF2B5EF4-FFF2-40B4-BE49-F238E27FC236}">
                <a16:creationId xmlns:a16="http://schemas.microsoft.com/office/drawing/2014/main" id="{160B9B91-190A-453C-87F6-790E5B769CFF}"/>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90440678"/>
      </p:ext>
    </p:extLst>
  </p:cSld>
  <p:clrMapOvr>
    <a:masterClrMapping/>
  </p:clrMapOvr>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tretch>
            <a:fill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9ED853B-3A94-44EA-B306-AED50E58825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a:t>TITLE SLIDE: OPTION 3</a:t>
            </a:r>
          </a:p>
        </p:txBody>
      </p:sp>
      <p:sp>
        <p:nvSpPr>
          <p:cNvPr id="18" name="Text Placeholder 14">
            <a:extLst>
              <a:ext uri="{FF2B5EF4-FFF2-40B4-BE49-F238E27FC236}">
                <a16:creationId xmlns:a16="http://schemas.microsoft.com/office/drawing/2014/main" id="{F73FD31C-CD9C-4CD0-AB2B-DBDD2B326B6B}"/>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MONTH YEAR</a:t>
            </a:r>
          </a:p>
        </p:txBody>
      </p:sp>
      <p:sp>
        <p:nvSpPr>
          <p:cNvPr id="19" name="Text Placeholder 14">
            <a:extLst>
              <a:ext uri="{FF2B5EF4-FFF2-40B4-BE49-F238E27FC236}">
                <a16:creationId xmlns:a16="http://schemas.microsoft.com/office/drawing/2014/main" id="{96044471-19A6-42C7-939C-1CE9DD8B64E7}"/>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20" name="Text Placeholder 14">
            <a:extLst>
              <a:ext uri="{FF2B5EF4-FFF2-40B4-BE49-F238E27FC236}">
                <a16:creationId xmlns:a16="http://schemas.microsoft.com/office/drawing/2014/main" id="{2C35F422-844D-4DC9-9E61-566C7E42E30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21" name="Text Placeholder 14">
            <a:extLst>
              <a:ext uri="{FF2B5EF4-FFF2-40B4-BE49-F238E27FC236}">
                <a16:creationId xmlns:a16="http://schemas.microsoft.com/office/drawing/2014/main" id="{130FA952-5204-419A-9950-05F23E33D226}"/>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CONTACT INFORMATION</a:t>
            </a:r>
          </a:p>
        </p:txBody>
      </p:sp>
      <p:sp>
        <p:nvSpPr>
          <p:cNvPr id="13" name="Rectangle 12">
            <a:extLst>
              <a:ext uri="{FF2B5EF4-FFF2-40B4-BE49-F238E27FC236}">
                <a16:creationId xmlns:a16="http://schemas.microsoft.com/office/drawing/2014/main" id="{FD155A0D-4442-44E6-97FB-766EA1DA30E9}"/>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64006589"/>
      </p:ext>
    </p:extLst>
  </p:cSld>
  <p:clrMapOvr>
    <a:masterClrMapping/>
  </p:clrMapOvr>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tretch>
            <a:fill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SUBTITLE</a:t>
            </a:r>
          </a:p>
        </p:txBody>
      </p:sp>
      <p:sp>
        <p:nvSpPr>
          <p:cNvPr id="9" name="Rectangle 8">
            <a:extLst>
              <a:ext uri="{FF2B5EF4-FFF2-40B4-BE49-F238E27FC236}">
                <a16:creationId xmlns:a16="http://schemas.microsoft.com/office/drawing/2014/main" id="{190653D2-C799-4BD0-BB47-2CF40EDD1D68}"/>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6762762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CB2699A0-6DF8-4B72-9524-62E15A5F6D3B}"/>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7619FAB3-EA86-4865-8788-762C0BC08CB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03484525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tretch>
            <a:fill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D32C6B46-3DF6-47EC-B3F2-3060C58593DE}"/>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SECTION DIVIDER OPTION 2</a:t>
            </a:r>
          </a:p>
        </p:txBody>
      </p:sp>
      <p:sp>
        <p:nvSpPr>
          <p:cNvPr id="14" name="Text Placeholder 14">
            <a:extLst>
              <a:ext uri="{FF2B5EF4-FFF2-40B4-BE49-F238E27FC236}">
                <a16:creationId xmlns:a16="http://schemas.microsoft.com/office/drawing/2014/main" id="{D78622D7-967F-4BBD-80F7-7832321EDD7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SUBTITLE</a:t>
            </a:r>
          </a:p>
        </p:txBody>
      </p:sp>
      <p:sp>
        <p:nvSpPr>
          <p:cNvPr id="12" name="Rectangle 11">
            <a:extLst>
              <a:ext uri="{FF2B5EF4-FFF2-40B4-BE49-F238E27FC236}">
                <a16:creationId xmlns:a16="http://schemas.microsoft.com/office/drawing/2014/main" id="{1814E0AC-B81B-4FFF-8CF4-9FA15FC030FB}"/>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74056218"/>
      </p:ext>
    </p:extLst>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tretch>
            <a:fill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BD2952BE-546F-44B6-B989-A67A2CD93029}"/>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SECTION DIVIDER OPTION 3</a:t>
            </a:r>
          </a:p>
        </p:txBody>
      </p:sp>
      <p:sp>
        <p:nvSpPr>
          <p:cNvPr id="14" name="Text Placeholder 14">
            <a:extLst>
              <a:ext uri="{FF2B5EF4-FFF2-40B4-BE49-F238E27FC236}">
                <a16:creationId xmlns:a16="http://schemas.microsoft.com/office/drawing/2014/main" id="{9F14CFA6-52B8-4391-8817-5F25D5FB149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SUBTITLE</a:t>
            </a:r>
          </a:p>
        </p:txBody>
      </p:sp>
      <p:sp>
        <p:nvSpPr>
          <p:cNvPr id="12" name="Rectangle 11">
            <a:extLst>
              <a:ext uri="{FF2B5EF4-FFF2-40B4-BE49-F238E27FC236}">
                <a16:creationId xmlns:a16="http://schemas.microsoft.com/office/drawing/2014/main" id="{E458DF5E-DBF8-4770-87A9-17AAEAB78BBA}"/>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54640224"/>
      </p:ext>
    </p:extLst>
  </p:cSld>
  <p:clrMapOvr>
    <a:masterClrMapping/>
  </p:clrMapOvr>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8AB1C77E-3414-4616-ADB9-D64EDC212D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23864255"/>
      </p:ext>
    </p:extLst>
  </p:cSld>
  <p:clrMapOvr>
    <a:masterClrMapping/>
  </p:clrMapOvr>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5" name="TextBox 7">
            <a:extLst>
              <a:ext uri="{FF2B5EF4-FFF2-40B4-BE49-F238E27FC236}">
                <a16:creationId xmlns:a16="http://schemas.microsoft.com/office/drawing/2014/main" id="{DB81CE39-F44A-4930-BF7D-63EDC9B2DF6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98521407"/>
      </p:ext>
    </p:extLst>
  </p:cSld>
  <p:clrMapOvr>
    <a:masterClrMapping/>
  </p:clrMapOvr>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4" name="TextBox 7">
            <a:extLst>
              <a:ext uri="{FF2B5EF4-FFF2-40B4-BE49-F238E27FC236}">
                <a16:creationId xmlns:a16="http://schemas.microsoft.com/office/drawing/2014/main" id="{2355CB8C-9D42-4F46-82EC-1E66DC4898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34645085"/>
      </p:ext>
    </p:extLst>
  </p:cSld>
  <p:clrMapOvr>
    <a:masterClrMapping/>
  </p:clrMapOvr>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6" name="Text Placeholder 10">
            <a:extLst>
              <a:ext uri="{FF2B5EF4-FFF2-40B4-BE49-F238E27FC236}">
                <a16:creationId xmlns:a16="http://schemas.microsoft.com/office/drawing/2014/main" id="{0DDEB31F-9812-4AEF-9BC4-F114E4F44AE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7" name="Text Placeholder 2">
            <a:extLst>
              <a:ext uri="{FF2B5EF4-FFF2-40B4-BE49-F238E27FC236}">
                <a16:creationId xmlns:a16="http://schemas.microsoft.com/office/drawing/2014/main" id="{C3B3A4EB-F305-4422-8C88-870CCE545DA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9" name="TextBox 7">
            <a:extLst>
              <a:ext uri="{FF2B5EF4-FFF2-40B4-BE49-F238E27FC236}">
                <a16:creationId xmlns:a16="http://schemas.microsoft.com/office/drawing/2014/main" id="{BD334408-F23F-41A5-A163-45832F857BB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0957745"/>
      </p:ext>
    </p:extLst>
  </p:cSld>
  <p:clrMapOvr>
    <a:masterClrMapping/>
  </p:clrMapOvr>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E6E1CA2-79C1-44AA-9FC4-E6D5E7D66008}"/>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6" name="Text Placeholder 2">
            <a:extLst>
              <a:ext uri="{FF2B5EF4-FFF2-40B4-BE49-F238E27FC236}">
                <a16:creationId xmlns:a16="http://schemas.microsoft.com/office/drawing/2014/main" id="{106964BD-D71E-4A3F-B632-C9E03B50902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7" name="Content Placeholder 7">
            <a:extLst>
              <a:ext uri="{FF2B5EF4-FFF2-40B4-BE49-F238E27FC236}">
                <a16:creationId xmlns:a16="http://schemas.microsoft.com/office/drawing/2014/main" id="{6909E8B4-0FDA-4BE0-A6B5-B9E776E54545}"/>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8" name="TextBox 7">
            <a:extLst>
              <a:ext uri="{FF2B5EF4-FFF2-40B4-BE49-F238E27FC236}">
                <a16:creationId xmlns:a16="http://schemas.microsoft.com/office/drawing/2014/main" id="{7B85B167-FB62-46A9-AA57-2DD08B356ED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80601561"/>
      </p:ext>
    </p:extLst>
  </p:cSld>
  <p:clrMapOvr>
    <a:masterClrMapping/>
  </p:clrMapOvr>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9" name="Text Placeholder 10">
            <a:extLst>
              <a:ext uri="{FF2B5EF4-FFF2-40B4-BE49-F238E27FC236}">
                <a16:creationId xmlns:a16="http://schemas.microsoft.com/office/drawing/2014/main" id="{85BFC132-57B9-42E2-BA12-31465A62946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10" name="Text Placeholder 2">
            <a:extLst>
              <a:ext uri="{FF2B5EF4-FFF2-40B4-BE49-F238E27FC236}">
                <a16:creationId xmlns:a16="http://schemas.microsoft.com/office/drawing/2014/main" id="{945CB1CF-317F-47A9-8053-F75230B126F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11" name="TextBox 7">
            <a:extLst>
              <a:ext uri="{FF2B5EF4-FFF2-40B4-BE49-F238E27FC236}">
                <a16:creationId xmlns:a16="http://schemas.microsoft.com/office/drawing/2014/main" id="{6C21E214-53D6-4916-B77A-B291A2BBF35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16662377"/>
      </p:ext>
    </p:extLst>
  </p:cSld>
  <p:clrMapOvr>
    <a:masterClrMapping/>
  </p:clrMapOvr>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C470888C-046E-444E-9E59-31BC29B30B43}"/>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9" name="Text Placeholder 2">
            <a:extLst>
              <a:ext uri="{FF2B5EF4-FFF2-40B4-BE49-F238E27FC236}">
                <a16:creationId xmlns:a16="http://schemas.microsoft.com/office/drawing/2014/main" id="{69378B1D-0275-4D38-B4ED-AA70E6BD665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10" name="Text Placeholder 2">
            <a:extLst>
              <a:ext uri="{FF2B5EF4-FFF2-40B4-BE49-F238E27FC236}">
                <a16:creationId xmlns:a16="http://schemas.microsoft.com/office/drawing/2014/main" id="{95903ABA-BB0D-46C1-A585-F9B3FBD8B0D8}"/>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11" name="Text Placeholder 2">
            <a:extLst>
              <a:ext uri="{FF2B5EF4-FFF2-40B4-BE49-F238E27FC236}">
                <a16:creationId xmlns:a16="http://schemas.microsoft.com/office/drawing/2014/main" id="{F984307E-FDAC-4ACF-AF2D-5C61ED6D22BB}"/>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7" name="TextBox 7">
            <a:extLst>
              <a:ext uri="{FF2B5EF4-FFF2-40B4-BE49-F238E27FC236}">
                <a16:creationId xmlns:a16="http://schemas.microsoft.com/office/drawing/2014/main" id="{C87EAEFD-8A78-4284-8BCF-C082292B20B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79994515"/>
      </p:ext>
    </p:extLst>
  </p:cSld>
  <p:clrMapOvr>
    <a:masterClrMapping/>
  </p:clrMapOvr>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4" name="TextBox 7">
            <a:extLst>
              <a:ext uri="{FF2B5EF4-FFF2-40B4-BE49-F238E27FC236}">
                <a16:creationId xmlns:a16="http://schemas.microsoft.com/office/drawing/2014/main" id="{ADBE6524-3BC5-43DF-AA3E-BCDB1560C18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289678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346070331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5410200"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4" name="TextBox 7">
            <a:extLst>
              <a:ext uri="{FF2B5EF4-FFF2-40B4-BE49-F238E27FC236}">
                <a16:creationId xmlns:a16="http://schemas.microsoft.com/office/drawing/2014/main" id="{9F3BC239-D05E-4900-A52D-214658C97D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40016918"/>
      </p:ext>
    </p:extLst>
  </p:cSld>
  <p:clrMapOvr>
    <a:masterClrMapping/>
  </p:clrMapOvr>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grpSp>
      <p:cxnSp>
        <p:nvCxnSpPr>
          <p:cNvPr id="9" name="Straight Connector 8">
            <a:extLst>
              <a:ext uri="{FF2B5EF4-FFF2-40B4-BE49-F238E27FC236}">
                <a16:creationId xmlns:a16="http://schemas.microsoft.com/office/drawing/2014/main" id="{CCCB2E93-48E4-4B80-AA7F-1D01F019B74E}"/>
              </a:ext>
            </a:extLst>
          </p:cNvPr>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ct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ct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10" name="TextBox 7">
            <a:extLst>
              <a:ext uri="{FF2B5EF4-FFF2-40B4-BE49-F238E27FC236}">
                <a16:creationId xmlns:a16="http://schemas.microsoft.com/office/drawing/2014/main" id="{2734946C-A4ED-40BE-9016-D51DF99D6FB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199888794"/>
      </p:ext>
    </p:extLst>
  </p:cSld>
  <p:clrMapOvr>
    <a:masterClrMapping/>
  </p:clrMapOvr>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grpSp>
      </p:grpSp>
      <p:cxnSp>
        <p:nvCxnSpPr>
          <p:cNvPr id="9" name="Straight Connector 8">
            <a:extLst>
              <a:ext uri="{FF2B5EF4-FFF2-40B4-BE49-F238E27FC236}">
                <a16:creationId xmlns:a16="http://schemas.microsoft.com/office/drawing/2014/main" id="{CCCB2E93-48E4-4B80-AA7F-1D01F019B74E}"/>
              </a:ext>
            </a:extLst>
          </p:cNvPr>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ct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ct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ext styles</a:t>
            </a:r>
          </a:p>
          <a:p>
            <a:pPr lvl="1"/>
            <a:r>
              <a:rPr lang="en-US"/>
              <a:t>Second level</a:t>
            </a:r>
          </a:p>
          <a:p>
            <a:pPr lvl="2"/>
            <a:r>
              <a:rPr lang="en-US"/>
              <a:t>Third level</a:t>
            </a:r>
          </a:p>
        </p:txBody>
      </p:sp>
      <p:sp>
        <p:nvSpPr>
          <p:cNvPr id="12" name="TextBox 7">
            <a:extLst>
              <a:ext uri="{FF2B5EF4-FFF2-40B4-BE49-F238E27FC236}">
                <a16:creationId xmlns:a16="http://schemas.microsoft.com/office/drawing/2014/main" id="{01643D19-1DA1-4AD1-9568-F3978E0B7C2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51835636"/>
      </p:ext>
    </p:extLst>
  </p:cSld>
  <p:clrMapOvr>
    <a:masterClrMapping/>
  </p:clrMapOvr>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6594DC06-EADF-4EE8-87CA-970BD5752164}"/>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14" name="Text Placeholder 2">
            <a:extLst>
              <a:ext uri="{FF2B5EF4-FFF2-40B4-BE49-F238E27FC236}">
                <a16:creationId xmlns:a16="http://schemas.microsoft.com/office/drawing/2014/main" id="{BA5FA02D-1D01-4717-8A07-0FE4B04C382A}"/>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15" name="TextBox 7">
            <a:extLst>
              <a:ext uri="{FF2B5EF4-FFF2-40B4-BE49-F238E27FC236}">
                <a16:creationId xmlns:a16="http://schemas.microsoft.com/office/drawing/2014/main" id="{C62D920C-6A3D-4F82-982A-01E2AB9EB655}"/>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35489338"/>
      </p:ext>
    </p:extLst>
  </p:cSld>
  <p:clrMapOvr>
    <a:masterClrMapping/>
  </p:clrMapOvr>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err="1"/>
              <a:t>Click to add picture</a:t>
            </a:r>
            <a:endParaRPr lang="es-ES"/>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s-ES" err="1"/>
              <a:t>Click to add picture</a:t>
            </a:r>
            <a:endParaRPr lang="es-ES"/>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s-ES" err="1"/>
              <a:t>Click to add picture</a:t>
            </a:r>
            <a:endParaRPr lang="es-ES"/>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s-ES" err="1"/>
              <a:t>Click to add picture</a:t>
            </a:r>
            <a:endParaRPr lang="es-ES"/>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s-ES" err="1"/>
              <a:t>Click to add picture</a:t>
            </a:r>
            <a:endParaRPr lang="es-ES"/>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s-ES" err="1"/>
              <a:t>Click to add picture</a:t>
            </a:r>
            <a:endParaRPr lang="es-ES"/>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56DB3A4D-4E00-4FB2-86BE-F7227E03641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19" name="Text Placeholder 2">
            <a:extLst>
              <a:ext uri="{FF2B5EF4-FFF2-40B4-BE49-F238E27FC236}">
                <a16:creationId xmlns:a16="http://schemas.microsoft.com/office/drawing/2014/main" id="{488D2A12-05B0-4CF7-B940-8931137122B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22" name="TextBox 7">
            <a:extLst>
              <a:ext uri="{FF2B5EF4-FFF2-40B4-BE49-F238E27FC236}">
                <a16:creationId xmlns:a16="http://schemas.microsoft.com/office/drawing/2014/main" id="{7F8AE6C8-D4BF-4C42-9430-223CEA81EC4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320040"/>
      </p:ext>
    </p:extLst>
  </p:cSld>
  <p:clrMapOvr>
    <a:masterClrMapping/>
  </p:clrMapOvr>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E7A52793-7004-4A92-8A39-44AE2E29582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14" name="Text Placeholder 2">
            <a:extLst>
              <a:ext uri="{FF2B5EF4-FFF2-40B4-BE49-F238E27FC236}">
                <a16:creationId xmlns:a16="http://schemas.microsoft.com/office/drawing/2014/main" id="{F6464A6C-F694-4A07-A7AF-B33C19CA41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sp>
        <p:nvSpPr>
          <p:cNvPr id="15" name="TextBox 7">
            <a:extLst>
              <a:ext uri="{FF2B5EF4-FFF2-40B4-BE49-F238E27FC236}">
                <a16:creationId xmlns:a16="http://schemas.microsoft.com/office/drawing/2014/main" id="{2B4D0890-7238-4F16-87D5-4DCCE7EE2772}"/>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92793212"/>
      </p:ext>
    </p:extLst>
  </p:cSld>
  <p:clrMapOvr>
    <a:masterClrMapping/>
  </p:clrMapOvr>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ct val="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ct val="0"/>
              </a:spcAft>
              <a:buClrTx/>
              <a:buSzTx/>
              <a:buFont typeface="Arial" panose="020B0604020202020204" pitchFamily="34" charset="0"/>
              <a:buNone/>
              <a:defRPr sz="12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ct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TITLE</a:t>
            </a:r>
          </a:p>
        </p:txBody>
      </p:sp>
    </p:spTree>
    <p:extLst>
      <p:ext uri="{BB962C8B-B14F-4D97-AF65-F5344CB8AC3E}">
        <p14:creationId xmlns:p14="http://schemas.microsoft.com/office/powerpoint/2010/main" val="3328747262"/>
      </p:ext>
    </p:extLst>
  </p:cSld>
  <p:clrMapOvr>
    <a:masterClrMapping/>
  </p:clrMapOvr>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ct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ct val="0"/>
              </a:spcAft>
              <a:buClrTx/>
              <a:buSzTx/>
              <a:buFont typeface="Arial" panose="020B0604020202020204" pitchFamily="34" charset="0"/>
              <a:buNone/>
              <a:defRPr sz="14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a:solidFill>
                  <a:schemeClr val="accent5"/>
                </a:solidFill>
                <a:latin typeface="+mn-lt"/>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tretch>
            <a:fillRect/>
          </a:stretch>
        </p:blipFill>
        <p:spPr>
          <a:xfrm>
            <a:off x="5315339" y="-9330"/>
            <a:ext cx="6876661" cy="6876661"/>
          </a:xfrm>
          <a:custGeom>
            <a:avLst/>
            <a:gdLst>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45A95D72-0AD2-42E5-9054-0780F1FB770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58518800"/>
      </p:ext>
    </p:extLst>
  </p:cSld>
  <p:clrMapOvr>
    <a:masterClrMapping/>
  </p:clrMapOvr>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tretch>
            <a:fill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p:nvPr userDrawn="1"/>
        </p:nvSpPr>
        <p:spPr bwMode="auto">
          <a:xfrm>
            <a:off x="976498" y="1613180"/>
            <a:ext cx="10239021" cy="923330"/>
          </a:xfrm>
          <a:prstGeom prst="rect">
            <a:avLst/>
          </a:prstGeom>
          <a:noFill/>
          <a:ln>
            <a:noFill/>
          </a:ln>
          <a:extLst>
            <a:ext uri="{909E8E84-426E-40dd-AFC4-6F175D3DCCD1}">
              <a14:hiddenFill xmlns="" xmlns:a14="http://schemas.microsoft.com/office/drawing/2010/main" xmlns:p159="http://schemas.microsoft.com/office/powerpoint/2015/09/main" xmlns:p15="http://schemas.microsoft.com/office/powerpoint/2012/main" xmlns:p14="http://schemas.microsoft.com/office/powerpoint/2010/main" xmlns:mc="http://schemas.openxmlformats.org/markup-compatibility/2006" xmlns:wp="http://schemas.openxmlformats.org/drawingml/2006/wordprocessingDrawing" xmlns:w="http://schemas.openxmlformats.org/wordprocessingml/2006/main" xmlns:m="http://schemas.openxmlformats.org/officeDocument/2006/math">
                <a:solidFill>
                  <a:srgbClr val="FFFFFF"/>
                </a:solidFill>
              </a14:hiddenFill>
            </a:ext>
            <a:ext uri="{91240B29-F687-4f45-9708-019B960494DF}">
              <a14:hiddenLine xmlns="" xmlns:a14="http://schemas.microsoft.com/office/drawing/2010/main" xmlns:p159="http://schemas.microsoft.com/office/powerpoint/2015/09/main" xmlns:p15="http://schemas.microsoft.com/office/powerpoint/2012/main" xmlns:p14="http://schemas.microsoft.com/office/powerpoint/2010/main" xmlns:mc="http://schemas.openxmlformats.org/markup-compatibility/2006" xmlns:wp="http://schemas.openxmlformats.org/drawingml/2006/wordprocessingDrawing" xmlns:w="http://schemas.openxmlformats.org/wordprocessingml/2006/main" xmlns:m="http://schemas.openxmlformats.org/officeDocument/2006/math"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a:solidFill>
                  <a:schemeClr val="bg1"/>
                </a:solidFill>
                <a:latin typeface="+mn-lt"/>
                <a:ea typeface="Open Sans Light" panose="020B0306030504020204" pitchFamily="34" charset="0"/>
                <a:cs typeface="Open Sans Light" panose="020B0306030504020204" pitchFamily="34" charset="0"/>
                <a:sym typeface="Bebas Neue" charset="0"/>
              </a:rPr>
              <a:t>CONNECT WITH US</a:t>
            </a:r>
            <a:endParaRPr lang="en-US" sz="6000" spc="1750">
              <a:solidFill>
                <a:schemeClr val="bg1"/>
              </a:solidFill>
              <a:latin typeface="+mn-lt"/>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a:solidFill>
                  <a:schemeClr val="bg1"/>
                </a:solidFill>
                <a:latin typeface="+mn-lt"/>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a:solidFill>
                  <a:schemeClr val="bg2"/>
                </a:solidFill>
                <a:latin typeface="+mn-lt"/>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2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a:solidFill>
                  <a:schemeClr val="bg1"/>
                </a:solidFill>
                <a:latin typeface="+mn-lt"/>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a:solidFill>
                  <a:schemeClr val="bg1"/>
                </a:solidFill>
                <a:latin typeface="+mn-lt"/>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9" name="Rectangle 8">
            <a:extLst>
              <a:ext uri="{FF2B5EF4-FFF2-40B4-BE49-F238E27FC236}">
                <a16:creationId xmlns:a16="http://schemas.microsoft.com/office/drawing/2014/main" id="{1ADB8F5A-80D4-EEEC-E4B4-613E4088444D}"/>
              </a:ext>
            </a:extLst>
          </p:cNvPr>
          <p:cNvSpPr/>
          <p:nvPr userDrawn="1"/>
        </p:nvSpPr>
        <p:spPr>
          <a:xfrm>
            <a:off x="9252904" y="4140246"/>
            <a:ext cx="1378455" cy="353943"/>
          </a:xfrm>
          <a:prstGeom prst="rect">
            <a:avLst/>
          </a:prstGeom>
        </p:spPr>
        <p:txBody>
          <a:bodyPr wrap="none">
            <a:spAutoFit/>
          </a:bodyPr>
          <a:lstStyle/>
          <a:p>
            <a:pPr algn="ctr"/>
            <a:r>
              <a:rPr lang="en-US" sz="170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11" name="Picture 10" descr="A white x on a black background&#10;&#10;Description automatically generated">
            <a:extLst>
              <a:ext uri="{FF2B5EF4-FFF2-40B4-BE49-F238E27FC236}">
                <a16:creationId xmlns:a16="http://schemas.microsoft.com/office/drawing/2014/main" id="{6EF965D2-61BB-5701-E7CB-2D0477B53D06}"/>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2012527168"/>
      </p:ext>
    </p:extLst>
  </p:cSld>
  <p:clrMapOvr>
    <a:masterClrMapping/>
  </p:clrMapOvr>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ct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ct val="0"/>
              </a:spcBef>
              <a:buNone/>
              <a:defRPr sz="1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3900593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C98993A-9C3A-4E6F-A8C6-0C942FDF0892}"/>
              </a:ext>
            </a:extLst>
          </p:cNvPr>
          <p:cNvSpPr/>
          <p:nvPr userDrawn="1"/>
        </p:nvSpPr>
        <p:spPr>
          <a:xfrm>
            <a:off x="8003263" y="6246891"/>
            <a:ext cx="968721" cy="4617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Tree>
    <p:extLst>
      <p:ext uri="{BB962C8B-B14F-4D97-AF65-F5344CB8AC3E}">
        <p14:creationId xmlns:p14="http://schemas.microsoft.com/office/powerpoint/2010/main" val="22372633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wo attorney mini bios">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3904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440260"/>
            <a:ext cx="5486400" cy="274320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s mini bio; include the most relevant experience related to the client/opportunity</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096000" y="3440260"/>
            <a:ext cx="5486400" cy="274320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add attorney’s mini bio; include the most relevant experience related to the client/opportunity</a:t>
            </a:r>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096000"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Text Placeholder 10">
            <a:extLst>
              <a:ext uri="{FF2B5EF4-FFF2-40B4-BE49-F238E27FC236}">
                <a16:creationId xmlns:a16="http://schemas.microsoft.com/office/drawing/2014/main" id="{FE8BF5DF-F438-4C13-B4ED-011B9F9F76B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ct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TITLE</a:t>
            </a:r>
          </a:p>
        </p:txBody>
      </p:sp>
      <p:sp>
        <p:nvSpPr>
          <p:cNvPr id="29" name="Text Placeholder 2">
            <a:extLst>
              <a:ext uri="{FF2B5EF4-FFF2-40B4-BE49-F238E27FC236}">
                <a16:creationId xmlns:a16="http://schemas.microsoft.com/office/drawing/2014/main" id="{A360920F-5451-49BE-8E1E-EDAF4C3681E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ct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CLICK TO EDIT SUBTITLE</a:t>
            </a:r>
          </a:p>
        </p:txBody>
      </p:sp>
      <p:sp>
        <p:nvSpPr>
          <p:cNvPr id="3" name="Text Placeholder 2">
            <a:extLst>
              <a:ext uri="{FF2B5EF4-FFF2-40B4-BE49-F238E27FC236}">
                <a16:creationId xmlns:a16="http://schemas.microsoft.com/office/drawing/2014/main" id="{0AA4D330-DB7F-466E-8606-B1CB343D9B75}"/>
              </a:ext>
            </a:extLst>
          </p:cNvPr>
          <p:cNvSpPr>
            <a:spLocks noGrp="1"/>
          </p:cNvSpPr>
          <p:nvPr>
            <p:ph type="body" sz="quarter" idx="71" hasCustomPrompt="1"/>
          </p:nvPr>
        </p:nvSpPr>
        <p:spPr>
          <a:xfrm>
            <a:off x="1944908" y="1616304"/>
            <a:ext cx="3931920" cy="1371600"/>
          </a:xfrm>
          <a:prstGeom prst="rect">
            <a:avLst/>
          </a:prstGeom>
        </p:spPr>
        <p:txBody>
          <a:bodyPr/>
          <a:lstStyle>
            <a:lvl1pPr marL="0" indent="0">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Attorney Name</a:t>
            </a:r>
            <a:br>
              <a:rPr lang="en-US"/>
            </a:br>
            <a:r>
              <a:rPr lang="en-US"/>
              <a:t>Title</a:t>
            </a:r>
            <a:br>
              <a:rPr lang="en-US"/>
            </a:br>
            <a:r>
              <a:rPr lang="en-US"/>
              <a:t>Office</a:t>
            </a:r>
            <a:br>
              <a:rPr lang="en-US"/>
            </a:br>
            <a:r>
              <a:rPr lang="en-US"/>
              <a:t>Phone</a:t>
            </a:r>
            <a:br>
              <a:rPr lang="en-US"/>
            </a:br>
            <a:r>
              <a:rPr lang="en-US"/>
              <a:t>Email</a:t>
            </a:r>
          </a:p>
        </p:txBody>
      </p:sp>
      <p:sp>
        <p:nvSpPr>
          <p:cNvPr id="15" name="Text Placeholder 2">
            <a:extLst>
              <a:ext uri="{FF2B5EF4-FFF2-40B4-BE49-F238E27FC236}">
                <a16:creationId xmlns:a16="http://schemas.microsoft.com/office/drawing/2014/main" id="{1595DD16-BB7F-4423-95FD-FEBAAF6041F5}"/>
              </a:ext>
            </a:extLst>
          </p:cNvPr>
          <p:cNvSpPr>
            <a:spLocks noGrp="1"/>
          </p:cNvSpPr>
          <p:nvPr>
            <p:ph type="body" sz="quarter" idx="72" hasCustomPrompt="1"/>
          </p:nvPr>
        </p:nvSpPr>
        <p:spPr>
          <a:xfrm>
            <a:off x="7650480" y="1616304"/>
            <a:ext cx="3931920" cy="1371600"/>
          </a:xfrm>
          <a:prstGeom prst="rect">
            <a:avLst/>
          </a:prstGeom>
        </p:spPr>
        <p:txBody>
          <a:bodyPr/>
          <a:lstStyle>
            <a:lvl1pPr marL="0" indent="0">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a:t>Attorney Name</a:t>
            </a:r>
            <a:br>
              <a:rPr lang="en-US"/>
            </a:br>
            <a:r>
              <a:rPr lang="en-US"/>
              <a:t>Title</a:t>
            </a:r>
            <a:br>
              <a:rPr lang="en-US"/>
            </a:br>
            <a:r>
              <a:rPr lang="en-US"/>
              <a:t>Office</a:t>
            </a:r>
            <a:br>
              <a:rPr lang="en-US"/>
            </a:br>
            <a:r>
              <a:rPr lang="en-US"/>
              <a:t>Phone</a:t>
            </a:r>
            <a:br>
              <a:rPr lang="en-US"/>
            </a:br>
            <a:r>
              <a:rPr lang="en-US"/>
              <a:t>Email</a:t>
            </a:r>
          </a:p>
        </p:txBody>
      </p:sp>
    </p:spTree>
    <p:extLst>
      <p:ext uri="{BB962C8B-B14F-4D97-AF65-F5344CB8AC3E}">
        <p14:creationId xmlns:p14="http://schemas.microsoft.com/office/powerpoint/2010/main" val="350208247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Bebas Neue" charset="0"/>
              </a:rPr>
              <a:t>CONNECT WITH US</a:t>
            </a: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Open Sans" panose="020B0606030504020204" pitchFamily="34" charset="0"/>
                <a:ea typeface="Open Sans" panose="020B0606030504020204" pitchFamily="34" charset="0"/>
                <a:cs typeface="Open Sans" panose="020B06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3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2" name="Rectangle 1">
            <a:extLst>
              <a:ext uri="{FF2B5EF4-FFF2-40B4-BE49-F238E27FC236}">
                <a16:creationId xmlns:a16="http://schemas.microsoft.com/office/drawing/2014/main" id="{CFCDFCA0-2E95-874D-58FD-E3EB408E3E20}"/>
              </a:ext>
            </a:extLst>
          </p:cNvPr>
          <p:cNvSpPr/>
          <p:nvPr userDrawn="1"/>
        </p:nvSpPr>
        <p:spPr>
          <a:xfrm>
            <a:off x="9252904" y="4140246"/>
            <a:ext cx="137845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6" name="Picture 5" descr="A white x on a black background&#10;&#10;Description automatically generated">
            <a:extLst>
              <a:ext uri="{FF2B5EF4-FFF2-40B4-BE49-F238E27FC236}">
                <a16:creationId xmlns:a16="http://schemas.microsoft.com/office/drawing/2014/main" id="{BADD13B3-8597-827C-9C6D-6165E057D453}"/>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23483241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A6C47CC-0B48-799E-BDD9-79F72E486C27}"/>
              </a:ext>
            </a:extLst>
          </p:cNvPr>
          <p:cNvSpPr>
            <a:spLocks noGrp="1"/>
          </p:cNvSpPr>
          <p:nvPr>
            <p:ph type="pic" sz="quarter" idx="10"/>
          </p:nvPr>
        </p:nvSpPr>
        <p:spPr>
          <a:xfrm>
            <a:off x="0" y="0"/>
            <a:ext cx="12192000" cy="2286000"/>
          </a:xfrm>
          <a:prstGeom prst="rect">
            <a:avLst/>
          </a:prstGeom>
          <a:solidFill>
            <a:schemeClr val="bg1">
              <a:lumMod val="85000"/>
            </a:schemeClr>
          </a:solidFill>
        </p:spPr>
        <p:txBody>
          <a:bodyPr anchor="ctr"/>
          <a:lstStyle>
            <a:lvl1pPr marL="0" indent="0" algn="ctr">
              <a:buNone/>
              <a:defRPr>
                <a:solidFill>
                  <a:schemeClr val="tx2"/>
                </a:solidFill>
                <a:latin typeface="Open Sans" panose="020B0606030504020204" pitchFamily="34" charset="0"/>
                <a:ea typeface="Open Sans" panose="020B0606030504020204" pitchFamily="34" charset="0"/>
                <a:cs typeface="Open Sans" panose="020B0606030504020204" pitchFamily="34" charset="0"/>
              </a:defRPr>
            </a:lvl1pPr>
          </a:lstStyle>
          <a:p>
            <a:endParaRPr lang="en-US" dirty="0"/>
          </a:p>
        </p:txBody>
      </p:sp>
      <p:sp>
        <p:nvSpPr>
          <p:cNvPr id="6" name="Text Placeholder 10">
            <a:extLst>
              <a:ext uri="{FF2B5EF4-FFF2-40B4-BE49-F238E27FC236}">
                <a16:creationId xmlns:a16="http://schemas.microsoft.com/office/drawing/2014/main" id="{7ED3C8FC-6C9B-0385-9B13-EB5FC3861B01}"/>
              </a:ext>
            </a:extLst>
          </p:cNvPr>
          <p:cNvSpPr>
            <a:spLocks noGrp="1"/>
          </p:cNvSpPr>
          <p:nvPr>
            <p:ph type="body" sz="quarter" idx="15" hasCustomPrompt="1"/>
          </p:nvPr>
        </p:nvSpPr>
        <p:spPr>
          <a:xfrm>
            <a:off x="390331" y="478997"/>
            <a:ext cx="6315269" cy="502920"/>
          </a:xfrm>
          <a:prstGeom prst="rect">
            <a:avLst/>
          </a:prstGeom>
        </p:spPr>
        <p:txBody>
          <a:bodyPr anchor="ctr">
            <a:noAutofit/>
          </a:bodyPr>
          <a:lstStyle>
            <a:lvl1pPr marL="0" indent="0" algn="l">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991E6E84-81E6-1746-2197-66428E38FD7A}"/>
              </a:ext>
            </a:extLst>
          </p:cNvPr>
          <p:cNvSpPr>
            <a:spLocks noGrp="1"/>
          </p:cNvSpPr>
          <p:nvPr>
            <p:ph type="body" sz="quarter" idx="16" hasCustomPrompt="1"/>
          </p:nvPr>
        </p:nvSpPr>
        <p:spPr>
          <a:xfrm>
            <a:off x="390331" y="1712695"/>
            <a:ext cx="6626289" cy="274320"/>
          </a:xfrm>
          <a:prstGeom prst="rect">
            <a:avLst/>
          </a:prstGeom>
        </p:spPr>
        <p:txBody>
          <a:bodyPr anchor="ctr">
            <a:noAutofit/>
          </a:bodyPr>
          <a:lstStyle>
            <a:lvl1pPr marL="0" indent="0" algn="l">
              <a:lnSpc>
                <a:spcPct val="100000"/>
              </a:lnSpc>
              <a:spcBef>
                <a:spcPts val="0"/>
              </a:spcBef>
              <a:buNone/>
              <a:defRPr sz="1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cxnSp>
        <p:nvCxnSpPr>
          <p:cNvPr id="5" name="Straight Connector 4">
            <a:extLst>
              <a:ext uri="{FF2B5EF4-FFF2-40B4-BE49-F238E27FC236}">
                <a16:creationId xmlns:a16="http://schemas.microsoft.com/office/drawing/2014/main" id="{1628D026-DE32-5C46-2389-4E8836D91042}"/>
              </a:ext>
            </a:extLst>
          </p:cNvPr>
          <p:cNvCxnSpPr/>
          <p:nvPr userDrawn="1"/>
        </p:nvCxnSpPr>
        <p:spPr>
          <a:xfrm>
            <a:off x="530286"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3438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Data Privacy">
    <p:spTree>
      <p:nvGrpSpPr>
        <p:cNvPr id="1" name=""/>
        <p:cNvGrpSpPr/>
        <p:nvPr/>
      </p:nvGrpSpPr>
      <p:grpSpPr>
        <a:xfrm>
          <a:off x="0" y="0"/>
          <a:ext cx="0" cy="0"/>
          <a:chOff x="0" y="0"/>
          <a:chExt cx="0" cy="0"/>
        </a:xfrm>
      </p:grpSpPr>
      <p:pic>
        <p:nvPicPr>
          <p:cNvPr id="12" name="Picture Placeholder 14">
            <a:extLst>
              <a:ext uri="{FF2B5EF4-FFF2-40B4-BE49-F238E27FC236}">
                <a16:creationId xmlns:a16="http://schemas.microsoft.com/office/drawing/2014/main" id="{7FCC1A8B-F827-470E-AA71-EE288BC444C3}"/>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Rectangle 10">
            <a:extLst>
              <a:ext uri="{FF2B5EF4-FFF2-40B4-BE49-F238E27FC236}">
                <a16:creationId xmlns:a16="http://schemas.microsoft.com/office/drawing/2014/main" id="{CFF768DD-5594-4F4B-B7FE-94A45903BF18}"/>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a:extLst>
              <a:ext uri="{FF2B5EF4-FFF2-40B4-BE49-F238E27FC236}">
                <a16:creationId xmlns:a16="http://schemas.microsoft.com/office/drawing/2014/main" id="{EFC0DD85-ABF6-4AD9-A8BE-86718A77B20B}"/>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A3CA12F3-089D-4A4B-916E-6E32F1D3957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8" name="Text Placeholder 14">
            <a:extLst>
              <a:ext uri="{FF2B5EF4-FFF2-40B4-BE49-F238E27FC236}">
                <a16:creationId xmlns:a16="http://schemas.microsoft.com/office/drawing/2014/main" id="{96550741-CAAA-475D-94BF-DA7E83BA2AFC}"/>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F8D44D4B-17C2-4FFF-A198-0B5159579D34}"/>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2543920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69789A13-1DB9-496E-A5AE-ABF640D115CB}"/>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9" name="Text Placeholder 14">
            <a:extLst>
              <a:ext uri="{FF2B5EF4-FFF2-40B4-BE49-F238E27FC236}">
                <a16:creationId xmlns:a16="http://schemas.microsoft.com/office/drawing/2014/main" id="{C447F563-C273-4536-AFB3-6A039FDE0993}"/>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20" name="Text Placeholder 14">
            <a:extLst>
              <a:ext uri="{FF2B5EF4-FFF2-40B4-BE49-F238E27FC236}">
                <a16:creationId xmlns:a16="http://schemas.microsoft.com/office/drawing/2014/main" id="{ECDDEB00-42BC-4E33-B09B-323E603E5E62}"/>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605B1481-DC26-4D6A-A3E6-F8168BB3192B}"/>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2" name="Text Placeholder 14">
            <a:extLst>
              <a:ext uri="{FF2B5EF4-FFF2-40B4-BE49-F238E27FC236}">
                <a16:creationId xmlns:a16="http://schemas.microsoft.com/office/drawing/2014/main" id="{0DCCCAFB-C578-42A4-B995-64AA53B19FB0}"/>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9175A5B5-950A-42AD-8E15-8DCB6CD68BE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03A662A0-1C20-74C5-F044-E6F5350D37D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833502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3"/>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049811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6A41164-9E02-42F7-95BC-2C9613F1A08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2</a:t>
            </a:r>
          </a:p>
        </p:txBody>
      </p:sp>
      <p:sp>
        <p:nvSpPr>
          <p:cNvPr id="18" name="Text Placeholder 14">
            <a:extLst>
              <a:ext uri="{FF2B5EF4-FFF2-40B4-BE49-F238E27FC236}">
                <a16:creationId xmlns:a16="http://schemas.microsoft.com/office/drawing/2014/main" id="{E7D0411B-98D2-40EE-A7C9-A6A4CDA8D6AF}"/>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63BFF807-FD44-4F0D-B39A-70F80C78AF6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31C4B28D-0969-490A-B13C-C8EB39316D59}"/>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AE57C29B-D449-4CC7-B381-424636D9EEB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160B9B91-190A-453C-87F6-790E5B769CFF}"/>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65400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9ED853B-3A94-44EA-B306-AED50E58825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3</a:t>
            </a:r>
          </a:p>
        </p:txBody>
      </p:sp>
      <p:sp>
        <p:nvSpPr>
          <p:cNvPr id="18" name="Text Placeholder 14">
            <a:extLst>
              <a:ext uri="{FF2B5EF4-FFF2-40B4-BE49-F238E27FC236}">
                <a16:creationId xmlns:a16="http://schemas.microsoft.com/office/drawing/2014/main" id="{F73FD31C-CD9C-4CD0-AB2B-DBDD2B326B6B}"/>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96044471-19A6-42C7-939C-1CE9DD8B64E7}"/>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2C35F422-844D-4DC9-9E61-566C7E42E30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130FA952-5204-419A-9950-05F23E33D226}"/>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FD155A0D-4442-44E6-97FB-766EA1DA30E9}"/>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9265152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190653D2-C799-4BD0-BB47-2CF40EDD1D68}"/>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479739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D32C6B46-3DF6-47EC-B3F2-3060C58593DE}"/>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2</a:t>
            </a:r>
          </a:p>
        </p:txBody>
      </p:sp>
      <p:sp>
        <p:nvSpPr>
          <p:cNvPr id="14" name="Text Placeholder 14">
            <a:extLst>
              <a:ext uri="{FF2B5EF4-FFF2-40B4-BE49-F238E27FC236}">
                <a16:creationId xmlns:a16="http://schemas.microsoft.com/office/drawing/2014/main" id="{D78622D7-967F-4BBD-80F7-7832321EDD7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1814E0AC-B81B-4FFF-8CF4-9FA15FC030F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54801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BD2952BE-546F-44B6-B989-A67A2CD93029}"/>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3</a:t>
            </a:r>
          </a:p>
        </p:txBody>
      </p:sp>
      <p:sp>
        <p:nvSpPr>
          <p:cNvPr id="14" name="Text Placeholder 14">
            <a:extLst>
              <a:ext uri="{FF2B5EF4-FFF2-40B4-BE49-F238E27FC236}">
                <a16:creationId xmlns:a16="http://schemas.microsoft.com/office/drawing/2014/main" id="{9F14CFA6-52B8-4391-8817-5F25D5FB149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E458DF5E-DBF8-4770-87A9-17AAEAB78BBA}"/>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141436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8AB1C77E-3414-4616-ADB9-D64EDC212D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79465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5" name="TextBox 7">
            <a:extLst>
              <a:ext uri="{FF2B5EF4-FFF2-40B4-BE49-F238E27FC236}">
                <a16:creationId xmlns:a16="http://schemas.microsoft.com/office/drawing/2014/main" id="{DB81CE39-F44A-4930-BF7D-63EDC9B2DF6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02855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4" name="TextBox 7">
            <a:extLst>
              <a:ext uri="{FF2B5EF4-FFF2-40B4-BE49-F238E27FC236}">
                <a16:creationId xmlns:a16="http://schemas.microsoft.com/office/drawing/2014/main" id="{2355CB8C-9D42-4F46-82EC-1E66DC4898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3627747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0DDEB31F-9812-4AEF-9BC4-F114E4F44AE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C3B3A4EB-F305-4422-8C88-870CCE545DA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9" name="TextBox 7">
            <a:extLst>
              <a:ext uri="{FF2B5EF4-FFF2-40B4-BE49-F238E27FC236}">
                <a16:creationId xmlns:a16="http://schemas.microsoft.com/office/drawing/2014/main" id="{BD334408-F23F-41A5-A163-45832F857BB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74716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6B67A9-3FC4-A765-FCBC-8D3390C12B62}"/>
              </a:ext>
            </a:extLst>
          </p:cNvPr>
          <p:cNvPicPr>
            <a:picLocks noChangeAspect="1"/>
          </p:cNvPicPr>
          <p:nvPr userDrawn="1"/>
        </p:nvPicPr>
        <p:blipFill rotWithShape="1">
          <a:blip r:embed="rId2"/>
          <a:srcRect t="1808" r="610" b="11074"/>
          <a:stretch/>
        </p:blipFill>
        <p:spPr>
          <a:xfrm>
            <a:off x="-65" y="0"/>
            <a:ext cx="1218895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5"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1" name="Rectangle 10">
            <a:extLst>
              <a:ext uri="{FF2B5EF4-FFF2-40B4-BE49-F238E27FC236}">
                <a16:creationId xmlns:a16="http://schemas.microsoft.com/office/drawing/2014/main" id="{B92113EB-96F2-4A90-81F0-91C7823D5A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E9808143-C0B4-8796-A0B4-661F20BF0C5E}"/>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5935627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E6E1CA2-79C1-44AA-9FC4-E6D5E7D66008}"/>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106964BD-D71E-4A3F-B632-C9E03B50902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Content Placeholder 7">
            <a:extLst>
              <a:ext uri="{FF2B5EF4-FFF2-40B4-BE49-F238E27FC236}">
                <a16:creationId xmlns:a16="http://schemas.microsoft.com/office/drawing/2014/main" id="{6909E8B4-0FDA-4BE0-A6B5-B9E776E54545}"/>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Box 7">
            <a:extLst>
              <a:ext uri="{FF2B5EF4-FFF2-40B4-BE49-F238E27FC236}">
                <a16:creationId xmlns:a16="http://schemas.microsoft.com/office/drawing/2014/main" id="{7B85B167-FB62-46A9-AA57-2DD08B356ED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612368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85BFC132-57B9-42E2-BA12-31465A62946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945CB1CF-317F-47A9-8053-F75230B126F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1" name="TextBox 7">
            <a:extLst>
              <a:ext uri="{FF2B5EF4-FFF2-40B4-BE49-F238E27FC236}">
                <a16:creationId xmlns:a16="http://schemas.microsoft.com/office/drawing/2014/main" id="{6C21E214-53D6-4916-B77A-B291A2BBF35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0472220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C470888C-046E-444E-9E59-31BC29B30B43}"/>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69378B1D-0275-4D38-B4ED-AA70E6BD665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0" name="Text Placeholder 2">
            <a:extLst>
              <a:ext uri="{FF2B5EF4-FFF2-40B4-BE49-F238E27FC236}">
                <a16:creationId xmlns:a16="http://schemas.microsoft.com/office/drawing/2014/main" id="{95903ABA-BB0D-46C1-A585-F9B3FBD8B0D8}"/>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2">
            <a:extLst>
              <a:ext uri="{FF2B5EF4-FFF2-40B4-BE49-F238E27FC236}">
                <a16:creationId xmlns:a16="http://schemas.microsoft.com/office/drawing/2014/main" id="{F984307E-FDAC-4ACF-AF2D-5C61ED6D22BB}"/>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TextBox 7">
            <a:extLst>
              <a:ext uri="{FF2B5EF4-FFF2-40B4-BE49-F238E27FC236}">
                <a16:creationId xmlns:a16="http://schemas.microsoft.com/office/drawing/2014/main" id="{C87EAEFD-8A78-4284-8BCF-C082292B20B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89752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ADBE6524-3BC5-43DF-AA3E-BCDB1560C18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780452879"/>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5410200"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9F3BC239-D05E-4900-A52D-214658C97D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65001960"/>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Box 7">
            <a:extLst>
              <a:ext uri="{FF2B5EF4-FFF2-40B4-BE49-F238E27FC236}">
                <a16:creationId xmlns:a16="http://schemas.microsoft.com/office/drawing/2014/main" id="{2734946C-A4ED-40BE-9016-D51DF99D6FB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6207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Box 7">
            <a:extLst>
              <a:ext uri="{FF2B5EF4-FFF2-40B4-BE49-F238E27FC236}">
                <a16:creationId xmlns:a16="http://schemas.microsoft.com/office/drawing/2014/main" id="{01643D19-1DA1-4AD1-9568-F3978E0B7C2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038697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6594DC06-EADF-4EE8-87CA-970BD5752164}"/>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BA5FA02D-1D01-4717-8A07-0FE4B04C382A}"/>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C62D920C-6A3D-4F82-982A-01E2AB9EB655}"/>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018521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56DB3A4D-4E00-4FB2-86BE-F7227E03641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488D2A12-05B0-4CF7-B940-8931137122B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22" name="TextBox 7">
            <a:extLst>
              <a:ext uri="{FF2B5EF4-FFF2-40B4-BE49-F238E27FC236}">
                <a16:creationId xmlns:a16="http://schemas.microsoft.com/office/drawing/2014/main" id="{7F8AE6C8-D4BF-4C42-9430-223CEA81EC4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9023527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E7A52793-7004-4A92-8A39-44AE2E29582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F6464A6C-F694-4A07-A7AF-B33C19CA41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2B4D0890-7238-4F16-87D5-4DCCE7EE2772}"/>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8223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531A623-BD28-89A3-56F0-AD3327970227}"/>
              </a:ext>
            </a:extLst>
          </p:cNvPr>
          <p:cNvPicPr>
            <a:picLocks noChangeAspect="1"/>
          </p:cNvPicPr>
          <p:nvPr userDrawn="1"/>
        </p:nvPicPr>
        <p:blipFill rotWithShape="1">
          <a:blip r:embed="rId2"/>
          <a:srcRect r="14946" b="23451"/>
          <a:stretch/>
        </p:blipFill>
        <p:spPr>
          <a:xfrm>
            <a:off x="-62" y="-1"/>
            <a:ext cx="1219206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2"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E2369E3-BA21-4969-9E24-C4043F5AC2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12173009-4FF5-4BB0-9D02-68EB3D7CCD3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7A5D091E-D913-4193-9656-395D40DE3602}"/>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BE4AFA6-E5E9-7186-05A6-C8671BB23F48}"/>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29025290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311047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mn-lt"/>
                <a:ea typeface="Open Sans Light" panose="020B0306030504020204" pitchFamily="34" charset="0"/>
                <a:cs typeface="Open Sans Light" panose="020B03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mn-lt"/>
                <a:ea typeface="Open Sans Light" panose="020B0306030504020204" pitchFamily="34" charset="0"/>
                <a:cs typeface="Open Sans Light" panose="020B03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45A95D72-0AD2-42E5-9054-0780F1FB770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081339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mn-lt"/>
                <a:ea typeface="Open Sans Light" panose="020B0306030504020204" pitchFamily="34" charset="0"/>
                <a:cs typeface="Open Sans Light" panose="020B0306030504020204" pitchFamily="34" charset="0"/>
                <a:sym typeface="Bebas Neue" charset="0"/>
              </a:rPr>
              <a:t>CONNECT WITH US</a:t>
            </a:r>
            <a:endParaRPr lang="en-US" sz="6000" spc="1750" dirty="0">
              <a:solidFill>
                <a:schemeClr val="bg1"/>
              </a:solidFill>
              <a:latin typeface="+mn-lt"/>
              <a:ea typeface="Open Sans Light" charset="0"/>
              <a:cs typeface="Open Sans Light" charset="0"/>
              <a:sym typeface="Bebas Neue" charset="0"/>
            </a:endParaRP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mn-lt"/>
                <a:ea typeface="Open Sans Light" panose="020B0306030504020204" pitchFamily="34" charset="0"/>
                <a:cs typeface="Open Sans Light" panose="020B03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3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mn-lt"/>
                <a:ea typeface="Open Sans Light" panose="020B0306030504020204" pitchFamily="34" charset="0"/>
                <a:cs typeface="Open Sans Light" panose="020B03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6958536" y="3514829"/>
            <a:ext cx="552450" cy="552450"/>
          </a:xfrm>
          <a:prstGeom prst="rect">
            <a:avLst/>
          </a:prstGeom>
        </p:spPr>
      </p:pic>
      <p:sp>
        <p:nvSpPr>
          <p:cNvPr id="9" name="Rectangle 8">
            <a:extLst>
              <a:ext uri="{FF2B5EF4-FFF2-40B4-BE49-F238E27FC236}">
                <a16:creationId xmlns:a16="http://schemas.microsoft.com/office/drawing/2014/main" id="{1ADB8F5A-80D4-EEEC-E4B4-613E4088444D}"/>
              </a:ext>
            </a:extLst>
          </p:cNvPr>
          <p:cNvSpPr/>
          <p:nvPr userDrawn="1"/>
        </p:nvSpPr>
        <p:spPr>
          <a:xfrm>
            <a:off x="9252904" y="4140246"/>
            <a:ext cx="137845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X (TWITTER)</a:t>
            </a:r>
          </a:p>
        </p:txBody>
      </p:sp>
      <p:pic>
        <p:nvPicPr>
          <p:cNvPr id="11" name="Picture 10" descr="A white x on a black background&#10;&#10;Description automatically generated">
            <a:extLst>
              <a:ext uri="{FF2B5EF4-FFF2-40B4-BE49-F238E27FC236}">
                <a16:creationId xmlns:a16="http://schemas.microsoft.com/office/drawing/2014/main" id="{6EF965D2-61BB-5701-E7CB-2D0477B53D06}"/>
              </a:ext>
            </a:extLst>
          </p:cNvPr>
          <p:cNvPicPr>
            <a:picLocks noChangeAspect="1"/>
          </p:cNvPicPr>
          <p:nvPr userDrawn="1"/>
        </p:nvPicPr>
        <p:blipFill>
          <a:blip r:embed="rId9"/>
          <a:stretch>
            <a:fillRect/>
          </a:stretch>
        </p:blipFill>
        <p:spPr>
          <a:xfrm>
            <a:off x="9673738" y="3518639"/>
            <a:ext cx="536786" cy="548640"/>
          </a:xfrm>
          <a:prstGeom prst="rect">
            <a:avLst/>
          </a:prstGeom>
        </p:spPr>
      </p:pic>
    </p:spTree>
    <p:extLst>
      <p:ext uri="{BB962C8B-B14F-4D97-AF65-F5344CB8AC3E}">
        <p14:creationId xmlns:p14="http://schemas.microsoft.com/office/powerpoint/2010/main" val="6259902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Data Privacy">
    <p:spTree>
      <p:nvGrpSpPr>
        <p:cNvPr id="1" name=""/>
        <p:cNvGrpSpPr/>
        <p:nvPr/>
      </p:nvGrpSpPr>
      <p:grpSpPr>
        <a:xfrm>
          <a:off x="0" y="0"/>
          <a:ext cx="0" cy="0"/>
          <a:chOff x="0" y="0"/>
          <a:chExt cx="0" cy="0"/>
        </a:xfrm>
      </p:grpSpPr>
      <p:pic>
        <p:nvPicPr>
          <p:cNvPr id="12" name="Picture Placeholder 14">
            <a:extLst>
              <a:ext uri="{FF2B5EF4-FFF2-40B4-BE49-F238E27FC236}">
                <a16:creationId xmlns:a16="http://schemas.microsoft.com/office/drawing/2014/main" id="{7FCC1A8B-F827-470E-AA71-EE288BC444C3}"/>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Rectangle 10">
            <a:extLst>
              <a:ext uri="{FF2B5EF4-FFF2-40B4-BE49-F238E27FC236}">
                <a16:creationId xmlns:a16="http://schemas.microsoft.com/office/drawing/2014/main" id="{CFF768DD-5594-4F4B-B7FE-94A45903BF18}"/>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a:extLst>
              <a:ext uri="{FF2B5EF4-FFF2-40B4-BE49-F238E27FC236}">
                <a16:creationId xmlns:a16="http://schemas.microsoft.com/office/drawing/2014/main" id="{EFC0DD85-ABF6-4AD9-A8BE-86718A77B20B}"/>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A3CA12F3-089D-4A4B-916E-6E32F1D3957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8" name="Text Placeholder 14">
            <a:extLst>
              <a:ext uri="{FF2B5EF4-FFF2-40B4-BE49-F238E27FC236}">
                <a16:creationId xmlns:a16="http://schemas.microsoft.com/office/drawing/2014/main" id="{96550741-CAAA-475D-94BF-DA7E83BA2AFC}"/>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F8D44D4B-17C2-4FFF-A198-0B5159579D34}"/>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33407498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5"/>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226363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395F2DED-E789-4A2F-A8C3-D0C606562CAA}"/>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8" name="Text Placeholder 14">
            <a:extLst>
              <a:ext uri="{FF2B5EF4-FFF2-40B4-BE49-F238E27FC236}">
                <a16:creationId xmlns:a16="http://schemas.microsoft.com/office/drawing/2014/main" id="{8EDA1D23-B4AF-4937-8F5E-75E8A00DE4FD}"/>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9FD76667-0576-4977-B3E7-178A926EC9C5}"/>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00BD73F6-6210-486A-8268-5D7BF88D02A3}"/>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FE9EDCED-0A4D-4C13-9959-396A2FE5A855}"/>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6F445D63-8BE2-4E03-9C99-89873D88EB7A}"/>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969732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2B758E12-AD2F-4906-B834-89B6D4866075}"/>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8" name="Text Placeholder 14">
            <a:extLst>
              <a:ext uri="{FF2B5EF4-FFF2-40B4-BE49-F238E27FC236}">
                <a16:creationId xmlns:a16="http://schemas.microsoft.com/office/drawing/2014/main" id="{84A46D26-8098-4E37-B0C8-0F384D510F61}"/>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E7C9E9A0-9481-42CB-865A-42258E293F8D}"/>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C70E4D5D-A044-43A3-9071-75018D0296AC}"/>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2A5EB2FF-27DC-44E9-8831-23A8D15DDCC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595C5CB2-297F-4B79-A74B-774830B1D7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0488968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9" name="Rectangle 8">
            <a:extLst>
              <a:ext uri="{FF2B5EF4-FFF2-40B4-BE49-F238E27FC236}">
                <a16:creationId xmlns:a16="http://schemas.microsoft.com/office/drawing/2014/main" id="{66A21209-D026-4558-A955-F86C0BF69D31}"/>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262619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7FDEC166-C2AC-4E67-91F6-044E56C39A1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4" name="Text Placeholder 14">
            <a:extLst>
              <a:ext uri="{FF2B5EF4-FFF2-40B4-BE49-F238E27FC236}">
                <a16:creationId xmlns:a16="http://schemas.microsoft.com/office/drawing/2014/main" id="{21A4FA97-D13C-4D76-951D-C20BBFD071C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9D70867F-596F-45BD-8AFE-ECBE9C882D1F}"/>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9424638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07654975-2781-4AF8-922B-EEDBBF4EA31B}"/>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4" name="Text Placeholder 14">
            <a:extLst>
              <a:ext uri="{FF2B5EF4-FFF2-40B4-BE49-F238E27FC236}">
                <a16:creationId xmlns:a16="http://schemas.microsoft.com/office/drawing/2014/main" id="{CBDDB8BE-49B7-4EFF-B0BA-E6B1C7A9E3C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DB7EF568-D6DD-41CA-B7F3-FB11CCCFDB1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005861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4" name="Picture Placeholder 14">
            <a:extLst>
              <a:ext uri="{FF2B5EF4-FFF2-40B4-BE49-F238E27FC236}">
                <a16:creationId xmlns:a16="http://schemas.microsoft.com/office/drawing/2014/main" id="{E7F7F4AF-D920-9D13-4BD4-E8394620F96D}"/>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10488397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Agenda or TOC without descriptions">
    <p:spTree>
      <p:nvGrpSpPr>
        <p:cNvPr id="1" name=""/>
        <p:cNvGrpSpPr/>
        <p:nvPr/>
      </p:nvGrpSpPr>
      <p:grpSpPr>
        <a:xfrm>
          <a:off x="0" y="0"/>
          <a:ext cx="0" cy="0"/>
          <a:chOff x="0" y="0"/>
          <a:chExt cx="0" cy="0"/>
        </a:xfrm>
      </p:grpSpPr>
      <p:cxnSp>
        <p:nvCxnSpPr>
          <p:cNvPr id="30" name="Straight Connector 29">
            <a:extLst>
              <a:ext uri="{FF2B5EF4-FFF2-40B4-BE49-F238E27FC236}">
                <a16:creationId xmlns:a16="http://schemas.microsoft.com/office/drawing/2014/main" id="{F6324387-C7D9-4B42-B7AE-F952F3B97200}"/>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Text Placeholder 2">
            <a:extLst>
              <a:ext uri="{FF2B5EF4-FFF2-40B4-BE49-F238E27FC236}">
                <a16:creationId xmlns:a16="http://schemas.microsoft.com/office/drawing/2014/main" id="{EDCDA128-C5C2-43B4-8990-FA571D866CB9}"/>
              </a:ext>
            </a:extLst>
          </p:cNvPr>
          <p:cNvSpPr>
            <a:spLocks noGrp="1"/>
          </p:cNvSpPr>
          <p:nvPr>
            <p:ph type="body" sz="quarter" idx="17" hasCustomPrompt="1"/>
          </p:nvPr>
        </p:nvSpPr>
        <p:spPr>
          <a:xfrm>
            <a:off x="1050124" y="2089150"/>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1</a:t>
            </a:r>
          </a:p>
        </p:txBody>
      </p:sp>
      <p:sp>
        <p:nvSpPr>
          <p:cNvPr id="34" name="Text Placeholder 2">
            <a:extLst>
              <a:ext uri="{FF2B5EF4-FFF2-40B4-BE49-F238E27FC236}">
                <a16:creationId xmlns:a16="http://schemas.microsoft.com/office/drawing/2014/main" id="{C4B5CA21-1D4D-421A-8F4F-89D19AD759D3}"/>
              </a:ext>
            </a:extLst>
          </p:cNvPr>
          <p:cNvSpPr>
            <a:spLocks noGrp="1"/>
          </p:cNvSpPr>
          <p:nvPr>
            <p:ph type="body" sz="quarter" idx="19" hasCustomPrompt="1"/>
          </p:nvPr>
        </p:nvSpPr>
        <p:spPr>
          <a:xfrm>
            <a:off x="6796213" y="2086720"/>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2</a:t>
            </a:r>
          </a:p>
        </p:txBody>
      </p:sp>
      <p:sp>
        <p:nvSpPr>
          <p:cNvPr id="42" name="Text Placeholder 2">
            <a:extLst>
              <a:ext uri="{FF2B5EF4-FFF2-40B4-BE49-F238E27FC236}">
                <a16:creationId xmlns:a16="http://schemas.microsoft.com/office/drawing/2014/main" id="{D4BE545A-885A-4FB0-9AC1-68F1338DD961}"/>
              </a:ext>
            </a:extLst>
          </p:cNvPr>
          <p:cNvSpPr>
            <a:spLocks noGrp="1"/>
          </p:cNvSpPr>
          <p:nvPr>
            <p:ph type="body" sz="quarter" idx="21" hasCustomPrompt="1"/>
          </p:nvPr>
        </p:nvSpPr>
        <p:spPr>
          <a:xfrm>
            <a:off x="1050124" y="3490530"/>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3</a:t>
            </a:r>
          </a:p>
        </p:txBody>
      </p:sp>
      <p:sp>
        <p:nvSpPr>
          <p:cNvPr id="43" name="Text Placeholder 2">
            <a:extLst>
              <a:ext uri="{FF2B5EF4-FFF2-40B4-BE49-F238E27FC236}">
                <a16:creationId xmlns:a16="http://schemas.microsoft.com/office/drawing/2014/main" id="{7F5E2992-1413-4CEA-8A9B-6F4768CAB2E7}"/>
              </a:ext>
            </a:extLst>
          </p:cNvPr>
          <p:cNvSpPr>
            <a:spLocks noGrp="1"/>
          </p:cNvSpPr>
          <p:nvPr>
            <p:ph type="body" sz="quarter" idx="23" hasCustomPrompt="1"/>
          </p:nvPr>
        </p:nvSpPr>
        <p:spPr>
          <a:xfrm>
            <a:off x="6796213" y="3491165"/>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4</a:t>
            </a:r>
          </a:p>
        </p:txBody>
      </p:sp>
      <p:sp>
        <p:nvSpPr>
          <p:cNvPr id="50" name="Text Placeholder 2">
            <a:extLst>
              <a:ext uri="{FF2B5EF4-FFF2-40B4-BE49-F238E27FC236}">
                <a16:creationId xmlns:a16="http://schemas.microsoft.com/office/drawing/2014/main" id="{F4365CE5-92D6-4E85-BF8A-2B551C2EE951}"/>
              </a:ext>
            </a:extLst>
          </p:cNvPr>
          <p:cNvSpPr>
            <a:spLocks noGrp="1"/>
          </p:cNvSpPr>
          <p:nvPr>
            <p:ph type="body" sz="quarter" idx="27" hasCustomPrompt="1"/>
          </p:nvPr>
        </p:nvSpPr>
        <p:spPr>
          <a:xfrm>
            <a:off x="1050124" y="4902322"/>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5</a:t>
            </a:r>
          </a:p>
        </p:txBody>
      </p:sp>
      <p:sp>
        <p:nvSpPr>
          <p:cNvPr id="51" name="Text Placeholder 2">
            <a:extLst>
              <a:ext uri="{FF2B5EF4-FFF2-40B4-BE49-F238E27FC236}">
                <a16:creationId xmlns:a16="http://schemas.microsoft.com/office/drawing/2014/main" id="{777898FC-A9A2-4154-B5F7-FD8374365A3A}"/>
              </a:ext>
            </a:extLst>
          </p:cNvPr>
          <p:cNvSpPr>
            <a:spLocks noGrp="1"/>
          </p:cNvSpPr>
          <p:nvPr>
            <p:ph type="body" sz="quarter" idx="28" hasCustomPrompt="1"/>
          </p:nvPr>
        </p:nvSpPr>
        <p:spPr>
          <a:xfrm>
            <a:off x="6796213" y="4902957"/>
            <a:ext cx="4572000" cy="457200"/>
          </a:xfrm>
          <a:prstGeom prst="rect">
            <a:avLst/>
          </a:prstGeom>
        </p:spPr>
        <p:txBody>
          <a:bodyPr anchor="ctr"/>
          <a:lstStyle>
            <a:lvl1pPr marL="0" indent="0">
              <a:lnSpc>
                <a:spcPct val="100000"/>
              </a:lnSpc>
              <a:spcBef>
                <a:spcPts val="0"/>
              </a:spcBef>
              <a:buNone/>
              <a:defRPr sz="2400">
                <a:solidFill>
                  <a:schemeClr val="accent5"/>
                </a:solidFill>
                <a:latin typeface="Open Sans Semibold" panose="020B0706030804020204" pitchFamily="34" charset="0"/>
                <a:ea typeface="Open Sans Semibold" panose="020B0706030804020204" pitchFamily="34" charset="0"/>
                <a:cs typeface="Open Sans Semibold" panose="020B0706030804020204" pitchFamily="34" charset="0"/>
              </a:defRPr>
            </a:lvl1pPr>
            <a:lvl2pPr>
              <a:defRPr sz="1600">
                <a:latin typeface="Open Sans Semibold" panose="020B0706030804020204" pitchFamily="34" charset="0"/>
                <a:ea typeface="Open Sans Semibold" panose="020B0706030804020204" pitchFamily="34" charset="0"/>
                <a:cs typeface="Open Sans Semibold" panose="020B0706030804020204" pitchFamily="34" charset="0"/>
              </a:defRPr>
            </a:lvl2pPr>
            <a:lvl3pPr>
              <a:defRPr sz="1600">
                <a:latin typeface="Open Sans Semibold" panose="020B0706030804020204" pitchFamily="34" charset="0"/>
                <a:ea typeface="Open Sans Semibold" panose="020B0706030804020204" pitchFamily="34" charset="0"/>
                <a:cs typeface="Open Sans Semibold" panose="020B0706030804020204" pitchFamily="34" charset="0"/>
              </a:defRPr>
            </a:lvl3pPr>
            <a:lvl4pPr>
              <a:defRPr sz="1600">
                <a:latin typeface="Open Sans Semibold" panose="020B0706030804020204" pitchFamily="34" charset="0"/>
                <a:ea typeface="Open Sans Semibold" panose="020B0706030804020204" pitchFamily="34" charset="0"/>
                <a:cs typeface="Open Sans Semibold" panose="020B0706030804020204" pitchFamily="34" charset="0"/>
              </a:defRPr>
            </a:lvl4pPr>
            <a:lvl5pPr>
              <a:defRPr sz="1600">
                <a:latin typeface="Open Sans Semibold" panose="020B0706030804020204" pitchFamily="34" charset="0"/>
                <a:ea typeface="Open Sans Semibold" panose="020B0706030804020204" pitchFamily="34" charset="0"/>
                <a:cs typeface="Open Sans Semibold" panose="020B0706030804020204" pitchFamily="34" charset="0"/>
              </a:defRPr>
            </a:lvl5pPr>
          </a:lstStyle>
          <a:p>
            <a:pPr lvl="0"/>
            <a:r>
              <a:rPr lang="en-US" dirty="0"/>
              <a:t>Click to edit title 6</a:t>
            </a:r>
          </a:p>
        </p:txBody>
      </p:sp>
      <p:sp>
        <p:nvSpPr>
          <p:cNvPr id="11" name="TextBox 7">
            <a:extLst>
              <a:ext uri="{FF2B5EF4-FFF2-40B4-BE49-F238E27FC236}">
                <a16:creationId xmlns:a16="http://schemas.microsoft.com/office/drawing/2014/main" id="{61F86F39-BE0D-4C5A-8AD2-5D54F74653E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 name="Text Placeholder 10">
            <a:extLst>
              <a:ext uri="{FF2B5EF4-FFF2-40B4-BE49-F238E27FC236}">
                <a16:creationId xmlns:a16="http://schemas.microsoft.com/office/drawing/2014/main" id="{1F513D15-19C5-4272-BD4F-9B1DD096E1A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3" name="Text Placeholder 2">
            <a:extLst>
              <a:ext uri="{FF2B5EF4-FFF2-40B4-BE49-F238E27FC236}">
                <a16:creationId xmlns:a16="http://schemas.microsoft.com/office/drawing/2014/main" id="{9098E624-FDA2-495E-8E2A-8928D340F7F8}"/>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25750280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2E775A7B-872C-4B67-84CC-F798247798B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2556098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5" name="TextBox 7">
            <a:extLst>
              <a:ext uri="{FF2B5EF4-FFF2-40B4-BE49-F238E27FC236}">
                <a16:creationId xmlns:a16="http://schemas.microsoft.com/office/drawing/2014/main" id="{29A9462F-E814-4E4E-8499-9B13B09D01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800898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4" name="TextBox 7">
            <a:extLst>
              <a:ext uri="{FF2B5EF4-FFF2-40B4-BE49-F238E27FC236}">
                <a16:creationId xmlns:a16="http://schemas.microsoft.com/office/drawing/2014/main" id="{0F35F26E-8F6C-442F-9C7F-C91EF05BB1E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 name="Text Placeholder 10">
            <a:extLst>
              <a:ext uri="{FF2B5EF4-FFF2-40B4-BE49-F238E27FC236}">
                <a16:creationId xmlns:a16="http://schemas.microsoft.com/office/drawing/2014/main" id="{035EFF25-B11C-47B9-AFFD-130CF0A58D4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599682EB-F2C8-4D86-9A5E-BAD2880AA019}"/>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3403098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Box 7">
            <a:extLst>
              <a:ext uri="{FF2B5EF4-FFF2-40B4-BE49-F238E27FC236}">
                <a16:creationId xmlns:a16="http://schemas.microsoft.com/office/drawing/2014/main" id="{AAE029AB-D958-4E89-915B-8DED81BF7910}"/>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 name="Text Placeholder 10">
            <a:extLst>
              <a:ext uri="{FF2B5EF4-FFF2-40B4-BE49-F238E27FC236}">
                <a16:creationId xmlns:a16="http://schemas.microsoft.com/office/drawing/2014/main" id="{34DF4B3B-76DE-4218-8EF4-80F1FD55C3C7}"/>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1037AAE3-86E1-444E-87B3-6232A04AD63E}"/>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186064156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Box 7">
            <a:extLst>
              <a:ext uri="{FF2B5EF4-FFF2-40B4-BE49-F238E27FC236}">
                <a16:creationId xmlns:a16="http://schemas.microsoft.com/office/drawing/2014/main" id="{745B10C7-E604-4688-9A92-ACC022799AA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 name="Text Placeholder 10">
            <a:extLst>
              <a:ext uri="{FF2B5EF4-FFF2-40B4-BE49-F238E27FC236}">
                <a16:creationId xmlns:a16="http://schemas.microsoft.com/office/drawing/2014/main" id="{EF2E5BB1-4DC9-499E-899B-16B78220BF7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BC75E2C0-DFE3-460E-AD8E-2875C227FE86}"/>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9" name="Content Placeholder 7">
            <a:extLst>
              <a:ext uri="{FF2B5EF4-FFF2-40B4-BE49-F238E27FC236}">
                <a16:creationId xmlns:a16="http://schemas.microsoft.com/office/drawing/2014/main" id="{098AA22F-CCA2-427B-9ECC-4200B769205B}"/>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847227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Box 7">
            <a:extLst>
              <a:ext uri="{FF2B5EF4-FFF2-40B4-BE49-F238E27FC236}">
                <a16:creationId xmlns:a16="http://schemas.microsoft.com/office/drawing/2014/main" id="{9CAD1A4A-F0F3-4148-B7DA-1E86D853A73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Text Placeholder 10">
            <a:extLst>
              <a:ext uri="{FF2B5EF4-FFF2-40B4-BE49-F238E27FC236}">
                <a16:creationId xmlns:a16="http://schemas.microsoft.com/office/drawing/2014/main" id="{DA62BB27-3C36-4D7A-B82E-6EE9F1FC91BE}"/>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1" name="Text Placeholder 2">
            <a:extLst>
              <a:ext uri="{FF2B5EF4-FFF2-40B4-BE49-F238E27FC236}">
                <a16:creationId xmlns:a16="http://schemas.microsoft.com/office/drawing/2014/main" id="{45B00B64-88B7-40D5-90A1-37981D35382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8953527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Box 7">
            <a:extLst>
              <a:ext uri="{FF2B5EF4-FFF2-40B4-BE49-F238E27FC236}">
                <a16:creationId xmlns:a16="http://schemas.microsoft.com/office/drawing/2014/main" id="{85D50858-C643-459A-81F6-775024D3356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 Placeholder 10">
            <a:extLst>
              <a:ext uri="{FF2B5EF4-FFF2-40B4-BE49-F238E27FC236}">
                <a16:creationId xmlns:a16="http://schemas.microsoft.com/office/drawing/2014/main" id="{9FB98A06-2F7D-4632-8076-820D90FF2DF1}"/>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5A0CF6D7-288F-42D9-BF97-F675CF2AEE13}"/>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1" name="Text Placeholder 2">
            <a:extLst>
              <a:ext uri="{FF2B5EF4-FFF2-40B4-BE49-F238E27FC236}">
                <a16:creationId xmlns:a16="http://schemas.microsoft.com/office/drawing/2014/main" id="{92A6CFFD-F0E5-4258-ACD8-2CC590367820}"/>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 Placeholder 2">
            <a:extLst>
              <a:ext uri="{FF2B5EF4-FFF2-40B4-BE49-F238E27FC236}">
                <a16:creationId xmlns:a16="http://schemas.microsoft.com/office/drawing/2014/main" id="{0B70C389-9506-4CA9-9673-4FE720D4C554}"/>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9320812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C899CC5B-454A-4C53-B066-DD45D4897F4A}"/>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111801045"/>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6096000" y="628650"/>
            <a:ext cx="5715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E8364F7B-F629-4ACC-8B10-4E9666E80BC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44405586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Divider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6902E53-CDA8-915A-860E-AAD921CC37D9}"/>
              </a:ext>
            </a:extLst>
          </p:cNvPr>
          <p:cNvPicPr>
            <a:picLocks noChangeAspect="1"/>
          </p:cNvPicPr>
          <p:nvPr userDrawn="1"/>
        </p:nvPicPr>
        <p:blipFill rotWithShape="1">
          <a:blip r:embed="rId2"/>
          <a:srcRect l="25" t="10747" r="-25" b="4874"/>
          <a:stretch/>
        </p:blipFill>
        <p:spPr>
          <a:xfrm>
            <a:off x="3048" y="1"/>
            <a:ext cx="12188952"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3048"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8357619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Box 7">
            <a:extLst>
              <a:ext uri="{FF2B5EF4-FFF2-40B4-BE49-F238E27FC236}">
                <a16:creationId xmlns:a16="http://schemas.microsoft.com/office/drawing/2014/main" id="{951FEA0A-E44A-446B-8530-16AD68991D9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719368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1pPr>
            <a:lvl2pPr marL="687388" indent="-342900">
              <a:buClr>
                <a:schemeClr val="accent1"/>
              </a:buClr>
              <a:buFont typeface="Calibri" panose="020F0502020204030204" pitchFamily="34" charset="0"/>
              <a:buChar char="–"/>
              <a:defRPr sz="2000">
                <a:latin typeface="Open Sans" panose="020B0606030504020204" pitchFamily="34" charset="0"/>
                <a:ea typeface="Open Sans" panose="020B0606030504020204" pitchFamily="34" charset="0"/>
                <a:cs typeface="Open Sans" panose="020B0606030504020204" pitchFamily="34" charset="0"/>
              </a:defRPr>
            </a:lvl2pPr>
            <a:lvl3pPr marL="1031875" indent="-344488">
              <a:buClr>
                <a:schemeClr val="accent1"/>
              </a:buClr>
              <a:buFont typeface="Wingdings" panose="05000000000000000000" pitchFamily="2" charset="2"/>
              <a:buChar char="§"/>
              <a:defRPr sz="2000">
                <a:latin typeface="Open Sans" panose="020B0606030504020204" pitchFamily="34" charset="0"/>
                <a:ea typeface="Open Sans" panose="020B0606030504020204" pitchFamily="34" charset="0"/>
                <a:cs typeface="Open Sans" panose="020B06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Box 7">
            <a:extLst>
              <a:ext uri="{FF2B5EF4-FFF2-40B4-BE49-F238E27FC236}">
                <a16:creationId xmlns:a16="http://schemas.microsoft.com/office/drawing/2014/main" id="{4C18FC3D-B81E-4563-8476-80F5C6E06E1D}"/>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1677225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7">
            <a:extLst>
              <a:ext uri="{FF2B5EF4-FFF2-40B4-BE49-F238E27FC236}">
                <a16:creationId xmlns:a16="http://schemas.microsoft.com/office/drawing/2014/main" id="{CDD8E9F9-E7DB-4A69-BACC-AF6CB1EF265A}"/>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10">
            <a:extLst>
              <a:ext uri="{FF2B5EF4-FFF2-40B4-BE49-F238E27FC236}">
                <a16:creationId xmlns:a16="http://schemas.microsoft.com/office/drawing/2014/main" id="{6805A5B9-CF42-4645-9371-77BB0F6F151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5" name="Text Placeholder 2">
            <a:extLst>
              <a:ext uri="{FF2B5EF4-FFF2-40B4-BE49-F238E27FC236}">
                <a16:creationId xmlns:a16="http://schemas.microsoft.com/office/drawing/2014/main" id="{C94ACBBB-42D3-4E0D-9089-3AC7895D841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7604377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Box 7">
            <a:extLst>
              <a:ext uri="{FF2B5EF4-FFF2-40B4-BE49-F238E27FC236}">
                <a16:creationId xmlns:a16="http://schemas.microsoft.com/office/drawing/2014/main" id="{AA2E9ACF-149C-4AAA-AA71-35FCF4FDFB96}"/>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 Placeholder 10">
            <a:extLst>
              <a:ext uri="{FF2B5EF4-FFF2-40B4-BE49-F238E27FC236}">
                <a16:creationId xmlns:a16="http://schemas.microsoft.com/office/drawing/2014/main" id="{5ABE30F3-B29C-4BEC-A8C5-9DCAA2EF15A7}"/>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22" name="Text Placeholder 2">
            <a:extLst>
              <a:ext uri="{FF2B5EF4-FFF2-40B4-BE49-F238E27FC236}">
                <a16:creationId xmlns:a16="http://schemas.microsoft.com/office/drawing/2014/main" id="{BC6B22B7-D7D9-4F62-9B64-0CF354186627}"/>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30429955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Box 7">
            <a:extLst>
              <a:ext uri="{FF2B5EF4-FFF2-40B4-BE49-F238E27FC236}">
                <a16:creationId xmlns:a16="http://schemas.microsoft.com/office/drawing/2014/main" id="{FFA88831-031B-464E-960B-DCEA707D50E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Text Placeholder 10">
            <a:extLst>
              <a:ext uri="{FF2B5EF4-FFF2-40B4-BE49-F238E27FC236}">
                <a16:creationId xmlns:a16="http://schemas.microsoft.com/office/drawing/2014/main" id="{A61A7F55-19B9-4499-A790-C44139D9AD6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5" name="Text Placeholder 2">
            <a:extLst>
              <a:ext uri="{FF2B5EF4-FFF2-40B4-BE49-F238E27FC236}">
                <a16:creationId xmlns:a16="http://schemas.microsoft.com/office/drawing/2014/main" id="{4DCCF90A-06BD-4952-8587-1EB040A0E5A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Tree>
    <p:extLst>
      <p:ext uri="{BB962C8B-B14F-4D97-AF65-F5344CB8AC3E}">
        <p14:creationId xmlns:p14="http://schemas.microsoft.com/office/powerpoint/2010/main" val="5274737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599242B-DEAB-4348-B5A9-CB4B425A43EB}"/>
              </a:ext>
            </a:extLst>
          </p:cNvPr>
          <p:cNvSpPr/>
          <p:nvPr userDrawn="1"/>
        </p:nvSpPr>
        <p:spPr>
          <a:xfrm>
            <a:off x="0" y="0"/>
            <a:ext cx="12192000" cy="6858000"/>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Picture Placeholder 101">
            <a:extLst>
              <a:ext uri="{FF2B5EF4-FFF2-40B4-BE49-F238E27FC236}">
                <a16:creationId xmlns:a16="http://schemas.microsoft.com/office/drawing/2014/main" id="{09643811-0C74-4A01-BA81-61628ED0CD89}"/>
              </a:ext>
            </a:extLst>
          </p:cNvPr>
          <p:cNvSpPr>
            <a:spLocks noGrp="1"/>
          </p:cNvSpPr>
          <p:nvPr>
            <p:ph type="pic" sz="quarter" idx="10"/>
          </p:nvPr>
        </p:nvSpPr>
        <p:spPr>
          <a:xfrm>
            <a:off x="2451038" y="0"/>
            <a:ext cx="9740963" cy="6858000"/>
          </a:xfrm>
          <a:custGeom>
            <a:avLst/>
            <a:gdLst>
              <a:gd name="connsiteX0" fmla="*/ 981316 w 9740963"/>
              <a:gd name="connsiteY0" fmla="*/ 5930787 h 6858000"/>
              <a:gd name="connsiteX1" fmla="*/ 1117507 w 9740963"/>
              <a:gd name="connsiteY1" fmla="*/ 6066978 h 6858000"/>
              <a:gd name="connsiteX2" fmla="*/ 1117507 w 9740963"/>
              <a:gd name="connsiteY2" fmla="*/ 6066979 h 6858000"/>
              <a:gd name="connsiteX3" fmla="*/ 1117507 w 9740963"/>
              <a:gd name="connsiteY3" fmla="*/ 6858000 h 6858000"/>
              <a:gd name="connsiteX4" fmla="*/ 0 w 9740963"/>
              <a:gd name="connsiteY4" fmla="*/ 6858000 h 6858000"/>
              <a:gd name="connsiteX5" fmla="*/ 892104 w 9740963"/>
              <a:gd name="connsiteY5" fmla="*/ 5965897 h 6858000"/>
              <a:gd name="connsiteX6" fmla="*/ 928305 w 9740963"/>
              <a:gd name="connsiteY6" fmla="*/ 5941490 h 6858000"/>
              <a:gd name="connsiteX7" fmla="*/ 981316 w 9740963"/>
              <a:gd name="connsiteY7" fmla="*/ 5930787 h 6858000"/>
              <a:gd name="connsiteX8" fmla="*/ 9583907 w 9740963"/>
              <a:gd name="connsiteY8" fmla="*/ 5514803 h 6858000"/>
              <a:gd name="connsiteX9" fmla="*/ 9740963 w 9740963"/>
              <a:gd name="connsiteY9" fmla="*/ 5514803 h 6858000"/>
              <a:gd name="connsiteX10" fmla="*/ 9740963 w 9740963"/>
              <a:gd name="connsiteY10" fmla="*/ 6004147 h 6858000"/>
              <a:gd name="connsiteX11" fmla="*/ 9490281 w 9740963"/>
              <a:gd name="connsiteY11" fmla="*/ 5753466 h 6858000"/>
              <a:gd name="connsiteX12" fmla="*/ 9490279 w 9740963"/>
              <a:gd name="connsiteY12" fmla="*/ 5753464 h 6858000"/>
              <a:gd name="connsiteX13" fmla="*/ 9470329 w 9740963"/>
              <a:gd name="connsiteY13" fmla="*/ 5733515 h 6858000"/>
              <a:gd name="connsiteX14" fmla="*/ 9449177 w 9740963"/>
              <a:gd name="connsiteY14" fmla="*/ 5702140 h 6858000"/>
              <a:gd name="connsiteX15" fmla="*/ 9438473 w 9740963"/>
              <a:gd name="connsiteY15" fmla="*/ 5649129 h 6858000"/>
              <a:gd name="connsiteX16" fmla="*/ 9521653 w 9740963"/>
              <a:gd name="connsiteY16" fmla="*/ 5523641 h 6858000"/>
              <a:gd name="connsiteX17" fmla="*/ 9565421 w 9740963"/>
              <a:gd name="connsiteY17" fmla="*/ 5514804 h 6858000"/>
              <a:gd name="connsiteX18" fmla="*/ 9583907 w 9740963"/>
              <a:gd name="connsiteY18" fmla="*/ 5514804 h 6858000"/>
              <a:gd name="connsiteX19" fmla="*/ 9014977 w 9740963"/>
              <a:gd name="connsiteY19" fmla="*/ 5514803 h 6858000"/>
              <a:gd name="connsiteX20" fmla="*/ 9067989 w 9740963"/>
              <a:gd name="connsiteY20" fmla="*/ 5525506 h 6858000"/>
              <a:gd name="connsiteX21" fmla="*/ 9104189 w 9740963"/>
              <a:gd name="connsiteY21" fmla="*/ 5549913 h 6858000"/>
              <a:gd name="connsiteX22" fmla="*/ 9740963 w 9740963"/>
              <a:gd name="connsiteY22" fmla="*/ 6186687 h 6858000"/>
              <a:gd name="connsiteX23" fmla="*/ 9740963 w 9740963"/>
              <a:gd name="connsiteY23" fmla="*/ 6858000 h 6858000"/>
              <a:gd name="connsiteX24" fmla="*/ 8878787 w 9740963"/>
              <a:gd name="connsiteY24" fmla="*/ 6858000 h 6858000"/>
              <a:gd name="connsiteX25" fmla="*/ 8878787 w 9740963"/>
              <a:gd name="connsiteY25" fmla="*/ 5650995 h 6858000"/>
              <a:gd name="connsiteX26" fmla="*/ 8878787 w 9740963"/>
              <a:gd name="connsiteY26" fmla="*/ 5650994 h 6858000"/>
              <a:gd name="connsiteX27" fmla="*/ 9014977 w 9740963"/>
              <a:gd name="connsiteY27" fmla="*/ 5514803 h 6858000"/>
              <a:gd name="connsiteX28" fmla="*/ 8615441 w 9740963"/>
              <a:gd name="connsiteY28" fmla="*/ 5514803 h 6858000"/>
              <a:gd name="connsiteX29" fmla="*/ 8751631 w 9740963"/>
              <a:gd name="connsiteY29" fmla="*/ 5650994 h 6858000"/>
              <a:gd name="connsiteX30" fmla="*/ 8751631 w 9740963"/>
              <a:gd name="connsiteY30" fmla="*/ 5650995 h 6858000"/>
              <a:gd name="connsiteX31" fmla="*/ 8751631 w 9740963"/>
              <a:gd name="connsiteY31" fmla="*/ 6858000 h 6858000"/>
              <a:gd name="connsiteX32" fmla="*/ 7218142 w 9740963"/>
              <a:gd name="connsiteY32" fmla="*/ 6858000 h 6858000"/>
              <a:gd name="connsiteX33" fmla="*/ 8526229 w 9740963"/>
              <a:gd name="connsiteY33" fmla="*/ 5549913 h 6858000"/>
              <a:gd name="connsiteX34" fmla="*/ 8562429 w 9740963"/>
              <a:gd name="connsiteY34" fmla="*/ 5525506 h 6858000"/>
              <a:gd name="connsiteX35" fmla="*/ 8615441 w 9740963"/>
              <a:gd name="connsiteY35" fmla="*/ 5514803 h 6858000"/>
              <a:gd name="connsiteX36" fmla="*/ 6477647 w 9740963"/>
              <a:gd name="connsiteY36" fmla="*/ 5514803 h 6858000"/>
              <a:gd name="connsiteX37" fmla="*/ 8046511 w 9740963"/>
              <a:gd name="connsiteY37" fmla="*/ 5514803 h 6858000"/>
              <a:gd name="connsiteX38" fmla="*/ 8046511 w 9740963"/>
              <a:gd name="connsiteY38" fmla="*/ 5514804 h 6858000"/>
              <a:gd name="connsiteX39" fmla="*/ 8064997 w 9740963"/>
              <a:gd name="connsiteY39" fmla="*/ 5514804 h 6858000"/>
              <a:gd name="connsiteX40" fmla="*/ 8108765 w 9740963"/>
              <a:gd name="connsiteY40" fmla="*/ 5523641 h 6858000"/>
              <a:gd name="connsiteX41" fmla="*/ 8191945 w 9740963"/>
              <a:gd name="connsiteY41" fmla="*/ 5649129 h 6858000"/>
              <a:gd name="connsiteX42" fmla="*/ 8181241 w 9740963"/>
              <a:gd name="connsiteY42" fmla="*/ 5702140 h 6858000"/>
              <a:gd name="connsiteX43" fmla="*/ 8160089 w 9740963"/>
              <a:gd name="connsiteY43" fmla="*/ 5733515 h 6858000"/>
              <a:gd name="connsiteX44" fmla="*/ 8140139 w 9740963"/>
              <a:gd name="connsiteY44" fmla="*/ 5753464 h 6858000"/>
              <a:gd name="connsiteX45" fmla="*/ 8140137 w 9740963"/>
              <a:gd name="connsiteY45" fmla="*/ 5753466 h 6858000"/>
              <a:gd name="connsiteX46" fmla="*/ 7035602 w 9740963"/>
              <a:gd name="connsiteY46" fmla="*/ 6858000 h 6858000"/>
              <a:gd name="connsiteX47" fmla="*/ 6334079 w 9740963"/>
              <a:gd name="connsiteY47" fmla="*/ 6858000 h 6858000"/>
              <a:gd name="connsiteX48" fmla="*/ 6334079 w 9740963"/>
              <a:gd name="connsiteY48" fmla="*/ 5658368 h 6858000"/>
              <a:gd name="connsiteX49" fmla="*/ 6334079 w 9740963"/>
              <a:gd name="connsiteY49" fmla="*/ 5658367 h 6858000"/>
              <a:gd name="connsiteX50" fmla="*/ 6334079 w 9740963"/>
              <a:gd name="connsiteY50" fmla="*/ 5639889 h 6858000"/>
              <a:gd name="connsiteX51" fmla="*/ 6342917 w 9740963"/>
              <a:gd name="connsiteY51" fmla="*/ 5596117 h 6858000"/>
              <a:gd name="connsiteX52" fmla="*/ 6415393 w 9740963"/>
              <a:gd name="connsiteY52" fmla="*/ 5523641 h 6858000"/>
              <a:gd name="connsiteX53" fmla="*/ 6459161 w 9740963"/>
              <a:gd name="connsiteY53" fmla="*/ 5514804 h 6858000"/>
              <a:gd name="connsiteX54" fmla="*/ 4494492 w 9740963"/>
              <a:gd name="connsiteY54" fmla="*/ 5514803 h 6858000"/>
              <a:gd name="connsiteX55" fmla="*/ 6063355 w 9740963"/>
              <a:gd name="connsiteY55" fmla="*/ 5514803 h 6858000"/>
              <a:gd name="connsiteX56" fmla="*/ 6081841 w 9740963"/>
              <a:gd name="connsiteY56" fmla="*/ 5514804 h 6858000"/>
              <a:gd name="connsiteX57" fmla="*/ 6125609 w 9740963"/>
              <a:gd name="connsiteY57" fmla="*/ 5523641 h 6858000"/>
              <a:gd name="connsiteX58" fmla="*/ 6198085 w 9740963"/>
              <a:gd name="connsiteY58" fmla="*/ 5596117 h 6858000"/>
              <a:gd name="connsiteX59" fmla="*/ 6206923 w 9740963"/>
              <a:gd name="connsiteY59" fmla="*/ 5639889 h 6858000"/>
              <a:gd name="connsiteX60" fmla="*/ 6206923 w 9740963"/>
              <a:gd name="connsiteY60" fmla="*/ 5658367 h 6858000"/>
              <a:gd name="connsiteX61" fmla="*/ 6206923 w 9740963"/>
              <a:gd name="connsiteY61" fmla="*/ 5658368 h 6858000"/>
              <a:gd name="connsiteX62" fmla="*/ 6206923 w 9740963"/>
              <a:gd name="connsiteY62" fmla="*/ 6858000 h 6858000"/>
              <a:gd name="connsiteX63" fmla="*/ 5505401 w 9740963"/>
              <a:gd name="connsiteY63" fmla="*/ 6858000 h 6858000"/>
              <a:gd name="connsiteX64" fmla="*/ 4400866 w 9740963"/>
              <a:gd name="connsiteY64" fmla="*/ 5753466 h 6858000"/>
              <a:gd name="connsiteX65" fmla="*/ 4400863 w 9740963"/>
              <a:gd name="connsiteY65" fmla="*/ 5753464 h 6858000"/>
              <a:gd name="connsiteX66" fmla="*/ 4380913 w 9740963"/>
              <a:gd name="connsiteY66" fmla="*/ 5733515 h 6858000"/>
              <a:gd name="connsiteX67" fmla="*/ 4359762 w 9740963"/>
              <a:gd name="connsiteY67" fmla="*/ 5702140 h 6858000"/>
              <a:gd name="connsiteX68" fmla="*/ 4349058 w 9740963"/>
              <a:gd name="connsiteY68" fmla="*/ 5649129 h 6858000"/>
              <a:gd name="connsiteX69" fmla="*/ 4432238 w 9740963"/>
              <a:gd name="connsiteY69" fmla="*/ 5523641 h 6858000"/>
              <a:gd name="connsiteX70" fmla="*/ 4476005 w 9740963"/>
              <a:gd name="connsiteY70" fmla="*/ 5514804 h 6858000"/>
              <a:gd name="connsiteX71" fmla="*/ 4494492 w 9740963"/>
              <a:gd name="connsiteY71" fmla="*/ 5514804 h 6858000"/>
              <a:gd name="connsiteX72" fmla="*/ 3925562 w 9740963"/>
              <a:gd name="connsiteY72" fmla="*/ 5514803 h 6858000"/>
              <a:gd name="connsiteX73" fmla="*/ 3978574 w 9740963"/>
              <a:gd name="connsiteY73" fmla="*/ 5525506 h 6858000"/>
              <a:gd name="connsiteX74" fmla="*/ 4014774 w 9740963"/>
              <a:gd name="connsiteY74" fmla="*/ 5549913 h 6858000"/>
              <a:gd name="connsiteX75" fmla="*/ 5322861 w 9740963"/>
              <a:gd name="connsiteY75" fmla="*/ 6858000 h 6858000"/>
              <a:gd name="connsiteX76" fmla="*/ 3789371 w 9740963"/>
              <a:gd name="connsiteY76" fmla="*/ 6858000 h 6858000"/>
              <a:gd name="connsiteX77" fmla="*/ 3789371 w 9740963"/>
              <a:gd name="connsiteY77" fmla="*/ 5650995 h 6858000"/>
              <a:gd name="connsiteX78" fmla="*/ 3789371 w 9740963"/>
              <a:gd name="connsiteY78" fmla="*/ 5650994 h 6858000"/>
              <a:gd name="connsiteX79" fmla="*/ 3925562 w 9740963"/>
              <a:gd name="connsiteY79" fmla="*/ 5514803 h 6858000"/>
              <a:gd name="connsiteX80" fmla="*/ 3526025 w 9740963"/>
              <a:gd name="connsiteY80" fmla="*/ 5514803 h 6858000"/>
              <a:gd name="connsiteX81" fmla="*/ 3662216 w 9740963"/>
              <a:gd name="connsiteY81" fmla="*/ 5650994 h 6858000"/>
              <a:gd name="connsiteX82" fmla="*/ 3662216 w 9740963"/>
              <a:gd name="connsiteY82" fmla="*/ 5650995 h 6858000"/>
              <a:gd name="connsiteX83" fmla="*/ 3662216 w 9740963"/>
              <a:gd name="connsiteY83" fmla="*/ 6858000 h 6858000"/>
              <a:gd name="connsiteX84" fmla="*/ 2128725 w 9740963"/>
              <a:gd name="connsiteY84" fmla="*/ 6858000 h 6858000"/>
              <a:gd name="connsiteX85" fmla="*/ 3436813 w 9740963"/>
              <a:gd name="connsiteY85" fmla="*/ 5549913 h 6858000"/>
              <a:gd name="connsiteX86" fmla="*/ 3473013 w 9740963"/>
              <a:gd name="connsiteY86" fmla="*/ 5525506 h 6858000"/>
              <a:gd name="connsiteX87" fmla="*/ 3526025 w 9740963"/>
              <a:gd name="connsiteY87" fmla="*/ 5514803 h 6858000"/>
              <a:gd name="connsiteX88" fmla="*/ 1388232 w 9740963"/>
              <a:gd name="connsiteY88" fmla="*/ 5514803 h 6858000"/>
              <a:gd name="connsiteX89" fmla="*/ 2957095 w 9740963"/>
              <a:gd name="connsiteY89" fmla="*/ 5514803 h 6858000"/>
              <a:gd name="connsiteX90" fmla="*/ 2957095 w 9740963"/>
              <a:gd name="connsiteY90" fmla="*/ 5514804 h 6858000"/>
              <a:gd name="connsiteX91" fmla="*/ 2975581 w 9740963"/>
              <a:gd name="connsiteY91" fmla="*/ 5514804 h 6858000"/>
              <a:gd name="connsiteX92" fmla="*/ 3019349 w 9740963"/>
              <a:gd name="connsiteY92" fmla="*/ 5523641 h 6858000"/>
              <a:gd name="connsiteX93" fmla="*/ 3102529 w 9740963"/>
              <a:gd name="connsiteY93" fmla="*/ 5649129 h 6858000"/>
              <a:gd name="connsiteX94" fmla="*/ 3091826 w 9740963"/>
              <a:gd name="connsiteY94" fmla="*/ 5702140 h 6858000"/>
              <a:gd name="connsiteX95" fmla="*/ 3070674 w 9740963"/>
              <a:gd name="connsiteY95" fmla="*/ 5733515 h 6858000"/>
              <a:gd name="connsiteX96" fmla="*/ 3050724 w 9740963"/>
              <a:gd name="connsiteY96" fmla="*/ 5753464 h 6858000"/>
              <a:gd name="connsiteX97" fmla="*/ 3050722 w 9740963"/>
              <a:gd name="connsiteY97" fmla="*/ 5753466 h 6858000"/>
              <a:gd name="connsiteX98" fmla="*/ 1946187 w 9740963"/>
              <a:gd name="connsiteY98" fmla="*/ 6858000 h 6858000"/>
              <a:gd name="connsiteX99" fmla="*/ 1244663 w 9740963"/>
              <a:gd name="connsiteY99" fmla="*/ 6858000 h 6858000"/>
              <a:gd name="connsiteX100" fmla="*/ 1244663 w 9740963"/>
              <a:gd name="connsiteY100" fmla="*/ 5658367 h 6858000"/>
              <a:gd name="connsiteX101" fmla="*/ 1244664 w 9740963"/>
              <a:gd name="connsiteY101" fmla="*/ 5658368 h 6858000"/>
              <a:gd name="connsiteX102" fmla="*/ 1244664 w 9740963"/>
              <a:gd name="connsiteY102" fmla="*/ 5639889 h 6858000"/>
              <a:gd name="connsiteX103" fmla="*/ 1253501 w 9740963"/>
              <a:gd name="connsiteY103" fmla="*/ 5596117 h 6858000"/>
              <a:gd name="connsiteX104" fmla="*/ 1325978 w 9740963"/>
              <a:gd name="connsiteY104" fmla="*/ 5523641 h 6858000"/>
              <a:gd name="connsiteX105" fmla="*/ 1369746 w 9740963"/>
              <a:gd name="connsiteY105" fmla="*/ 5514804 h 6858000"/>
              <a:gd name="connsiteX106" fmla="*/ 9583907 w 9740963"/>
              <a:gd name="connsiteY106" fmla="*/ 3506125 h 6858000"/>
              <a:gd name="connsiteX107" fmla="*/ 9740963 w 9740963"/>
              <a:gd name="connsiteY107" fmla="*/ 3506125 h 6858000"/>
              <a:gd name="connsiteX108" fmla="*/ 9740963 w 9740963"/>
              <a:gd name="connsiteY108" fmla="*/ 3995469 h 6858000"/>
              <a:gd name="connsiteX109" fmla="*/ 9490281 w 9740963"/>
              <a:gd name="connsiteY109" fmla="*/ 3744788 h 6858000"/>
              <a:gd name="connsiteX110" fmla="*/ 9490279 w 9740963"/>
              <a:gd name="connsiteY110" fmla="*/ 3744786 h 6858000"/>
              <a:gd name="connsiteX111" fmla="*/ 9470329 w 9740963"/>
              <a:gd name="connsiteY111" fmla="*/ 3724837 h 6858000"/>
              <a:gd name="connsiteX112" fmla="*/ 9449177 w 9740963"/>
              <a:gd name="connsiteY112" fmla="*/ 3693462 h 6858000"/>
              <a:gd name="connsiteX113" fmla="*/ 9438473 w 9740963"/>
              <a:gd name="connsiteY113" fmla="*/ 3640451 h 6858000"/>
              <a:gd name="connsiteX114" fmla="*/ 9521653 w 9740963"/>
              <a:gd name="connsiteY114" fmla="*/ 3514963 h 6858000"/>
              <a:gd name="connsiteX115" fmla="*/ 9565421 w 9740963"/>
              <a:gd name="connsiteY115" fmla="*/ 3506126 h 6858000"/>
              <a:gd name="connsiteX116" fmla="*/ 9583907 w 9740963"/>
              <a:gd name="connsiteY116" fmla="*/ 3506126 h 6858000"/>
              <a:gd name="connsiteX117" fmla="*/ 9014977 w 9740963"/>
              <a:gd name="connsiteY117" fmla="*/ 3506125 h 6858000"/>
              <a:gd name="connsiteX118" fmla="*/ 9067989 w 9740963"/>
              <a:gd name="connsiteY118" fmla="*/ 3516828 h 6858000"/>
              <a:gd name="connsiteX119" fmla="*/ 9104189 w 9740963"/>
              <a:gd name="connsiteY119" fmla="*/ 3541235 h 6858000"/>
              <a:gd name="connsiteX120" fmla="*/ 9740963 w 9740963"/>
              <a:gd name="connsiteY120" fmla="*/ 4178008 h 6858000"/>
              <a:gd name="connsiteX121" fmla="*/ 9740963 w 9740963"/>
              <a:gd name="connsiteY121" fmla="*/ 5360553 h 6858000"/>
              <a:gd name="connsiteX122" fmla="*/ 9022355 w 9740963"/>
              <a:gd name="connsiteY122" fmla="*/ 5360553 h 6858000"/>
              <a:gd name="connsiteX123" fmla="*/ 9003869 w 9740963"/>
              <a:gd name="connsiteY123" fmla="*/ 5360552 h 6858000"/>
              <a:gd name="connsiteX124" fmla="*/ 8960101 w 9740963"/>
              <a:gd name="connsiteY124" fmla="*/ 5351716 h 6858000"/>
              <a:gd name="connsiteX125" fmla="*/ 8887625 w 9740963"/>
              <a:gd name="connsiteY125" fmla="*/ 5279239 h 6858000"/>
              <a:gd name="connsiteX126" fmla="*/ 8878787 w 9740963"/>
              <a:gd name="connsiteY126" fmla="*/ 5235467 h 6858000"/>
              <a:gd name="connsiteX127" fmla="*/ 8878787 w 9740963"/>
              <a:gd name="connsiteY127" fmla="*/ 5216989 h 6858000"/>
              <a:gd name="connsiteX128" fmla="*/ 8878787 w 9740963"/>
              <a:gd name="connsiteY128" fmla="*/ 5216988 h 6858000"/>
              <a:gd name="connsiteX129" fmla="*/ 8878787 w 9740963"/>
              <a:gd name="connsiteY129" fmla="*/ 3642317 h 6858000"/>
              <a:gd name="connsiteX130" fmla="*/ 8878787 w 9740963"/>
              <a:gd name="connsiteY130" fmla="*/ 3642316 h 6858000"/>
              <a:gd name="connsiteX131" fmla="*/ 9014977 w 9740963"/>
              <a:gd name="connsiteY131" fmla="*/ 3506125 h 6858000"/>
              <a:gd name="connsiteX132" fmla="*/ 8615441 w 9740963"/>
              <a:gd name="connsiteY132" fmla="*/ 3506125 h 6858000"/>
              <a:gd name="connsiteX133" fmla="*/ 8751631 w 9740963"/>
              <a:gd name="connsiteY133" fmla="*/ 3642316 h 6858000"/>
              <a:gd name="connsiteX134" fmla="*/ 8751631 w 9740963"/>
              <a:gd name="connsiteY134" fmla="*/ 3642317 h 6858000"/>
              <a:gd name="connsiteX135" fmla="*/ 8751631 w 9740963"/>
              <a:gd name="connsiteY135" fmla="*/ 5216988 h 6858000"/>
              <a:gd name="connsiteX136" fmla="*/ 8751631 w 9740963"/>
              <a:gd name="connsiteY136" fmla="*/ 5216989 h 6858000"/>
              <a:gd name="connsiteX137" fmla="*/ 8751631 w 9740963"/>
              <a:gd name="connsiteY137" fmla="*/ 5235467 h 6858000"/>
              <a:gd name="connsiteX138" fmla="*/ 8742793 w 9740963"/>
              <a:gd name="connsiteY138" fmla="*/ 5279239 h 6858000"/>
              <a:gd name="connsiteX139" fmla="*/ 8670317 w 9740963"/>
              <a:gd name="connsiteY139" fmla="*/ 5351716 h 6858000"/>
              <a:gd name="connsiteX140" fmla="*/ 8626549 w 9740963"/>
              <a:gd name="connsiteY140" fmla="*/ 5360552 h 6858000"/>
              <a:gd name="connsiteX141" fmla="*/ 8608063 w 9740963"/>
              <a:gd name="connsiteY141" fmla="*/ 5360553 h 6858000"/>
              <a:gd name="connsiteX142" fmla="*/ 7039199 w 9740963"/>
              <a:gd name="connsiteY142" fmla="*/ 5360553 h 6858000"/>
              <a:gd name="connsiteX143" fmla="*/ 7039199 w 9740963"/>
              <a:gd name="connsiteY143" fmla="*/ 5360552 h 6858000"/>
              <a:gd name="connsiteX144" fmla="*/ 7020713 w 9740963"/>
              <a:gd name="connsiteY144" fmla="*/ 5360552 h 6858000"/>
              <a:gd name="connsiteX145" fmla="*/ 6976945 w 9740963"/>
              <a:gd name="connsiteY145" fmla="*/ 5351716 h 6858000"/>
              <a:gd name="connsiteX146" fmla="*/ 6893765 w 9740963"/>
              <a:gd name="connsiteY146" fmla="*/ 5226228 h 6858000"/>
              <a:gd name="connsiteX147" fmla="*/ 6904469 w 9740963"/>
              <a:gd name="connsiteY147" fmla="*/ 5173216 h 6858000"/>
              <a:gd name="connsiteX148" fmla="*/ 6925621 w 9740963"/>
              <a:gd name="connsiteY148" fmla="*/ 5141842 h 6858000"/>
              <a:gd name="connsiteX149" fmla="*/ 6945571 w 9740963"/>
              <a:gd name="connsiteY149" fmla="*/ 5121892 h 6858000"/>
              <a:gd name="connsiteX150" fmla="*/ 6945573 w 9740963"/>
              <a:gd name="connsiteY150" fmla="*/ 5121891 h 6858000"/>
              <a:gd name="connsiteX151" fmla="*/ 8526229 w 9740963"/>
              <a:gd name="connsiteY151" fmla="*/ 3541235 h 6858000"/>
              <a:gd name="connsiteX152" fmla="*/ 8562429 w 9740963"/>
              <a:gd name="connsiteY152" fmla="*/ 3516828 h 6858000"/>
              <a:gd name="connsiteX153" fmla="*/ 8615441 w 9740963"/>
              <a:gd name="connsiteY153" fmla="*/ 3506125 h 6858000"/>
              <a:gd name="connsiteX154" fmla="*/ 6477647 w 9740963"/>
              <a:gd name="connsiteY154" fmla="*/ 3506125 h 6858000"/>
              <a:gd name="connsiteX155" fmla="*/ 8046511 w 9740963"/>
              <a:gd name="connsiteY155" fmla="*/ 3506125 h 6858000"/>
              <a:gd name="connsiteX156" fmla="*/ 8046511 w 9740963"/>
              <a:gd name="connsiteY156" fmla="*/ 3506126 h 6858000"/>
              <a:gd name="connsiteX157" fmla="*/ 8064997 w 9740963"/>
              <a:gd name="connsiteY157" fmla="*/ 3506126 h 6858000"/>
              <a:gd name="connsiteX158" fmla="*/ 8108765 w 9740963"/>
              <a:gd name="connsiteY158" fmla="*/ 3514963 h 6858000"/>
              <a:gd name="connsiteX159" fmla="*/ 8191945 w 9740963"/>
              <a:gd name="connsiteY159" fmla="*/ 3640451 h 6858000"/>
              <a:gd name="connsiteX160" fmla="*/ 8181241 w 9740963"/>
              <a:gd name="connsiteY160" fmla="*/ 3693462 h 6858000"/>
              <a:gd name="connsiteX161" fmla="*/ 8160089 w 9740963"/>
              <a:gd name="connsiteY161" fmla="*/ 3724837 h 6858000"/>
              <a:gd name="connsiteX162" fmla="*/ 8140139 w 9740963"/>
              <a:gd name="connsiteY162" fmla="*/ 3744786 h 6858000"/>
              <a:gd name="connsiteX163" fmla="*/ 8140137 w 9740963"/>
              <a:gd name="connsiteY163" fmla="*/ 3744788 h 6858000"/>
              <a:gd name="connsiteX164" fmla="*/ 6559481 w 9740963"/>
              <a:gd name="connsiteY164" fmla="*/ 5325443 h 6858000"/>
              <a:gd name="connsiteX165" fmla="*/ 6523281 w 9740963"/>
              <a:gd name="connsiteY165" fmla="*/ 5349850 h 6858000"/>
              <a:gd name="connsiteX166" fmla="*/ 6470269 w 9740963"/>
              <a:gd name="connsiteY166" fmla="*/ 5360553 h 6858000"/>
              <a:gd name="connsiteX167" fmla="*/ 6334079 w 9740963"/>
              <a:gd name="connsiteY167" fmla="*/ 5224362 h 6858000"/>
              <a:gd name="connsiteX168" fmla="*/ 6334079 w 9740963"/>
              <a:gd name="connsiteY168" fmla="*/ 3649690 h 6858000"/>
              <a:gd name="connsiteX169" fmla="*/ 6334079 w 9740963"/>
              <a:gd name="connsiteY169" fmla="*/ 3649689 h 6858000"/>
              <a:gd name="connsiteX170" fmla="*/ 6334079 w 9740963"/>
              <a:gd name="connsiteY170" fmla="*/ 3631211 h 6858000"/>
              <a:gd name="connsiteX171" fmla="*/ 6342917 w 9740963"/>
              <a:gd name="connsiteY171" fmla="*/ 3587439 h 6858000"/>
              <a:gd name="connsiteX172" fmla="*/ 6415393 w 9740963"/>
              <a:gd name="connsiteY172" fmla="*/ 3514963 h 6858000"/>
              <a:gd name="connsiteX173" fmla="*/ 6459161 w 9740963"/>
              <a:gd name="connsiteY173" fmla="*/ 3506126 h 6858000"/>
              <a:gd name="connsiteX174" fmla="*/ 4494492 w 9740963"/>
              <a:gd name="connsiteY174" fmla="*/ 3506125 h 6858000"/>
              <a:gd name="connsiteX175" fmla="*/ 6063355 w 9740963"/>
              <a:gd name="connsiteY175" fmla="*/ 3506125 h 6858000"/>
              <a:gd name="connsiteX176" fmla="*/ 6081841 w 9740963"/>
              <a:gd name="connsiteY176" fmla="*/ 3506126 h 6858000"/>
              <a:gd name="connsiteX177" fmla="*/ 6125609 w 9740963"/>
              <a:gd name="connsiteY177" fmla="*/ 3514963 h 6858000"/>
              <a:gd name="connsiteX178" fmla="*/ 6198085 w 9740963"/>
              <a:gd name="connsiteY178" fmla="*/ 3587439 h 6858000"/>
              <a:gd name="connsiteX179" fmla="*/ 6206923 w 9740963"/>
              <a:gd name="connsiteY179" fmla="*/ 3631211 h 6858000"/>
              <a:gd name="connsiteX180" fmla="*/ 6206923 w 9740963"/>
              <a:gd name="connsiteY180" fmla="*/ 3649689 h 6858000"/>
              <a:gd name="connsiteX181" fmla="*/ 6206923 w 9740963"/>
              <a:gd name="connsiteY181" fmla="*/ 3649690 h 6858000"/>
              <a:gd name="connsiteX182" fmla="*/ 6206923 w 9740963"/>
              <a:gd name="connsiteY182" fmla="*/ 5224362 h 6858000"/>
              <a:gd name="connsiteX183" fmla="*/ 6070733 w 9740963"/>
              <a:gd name="connsiteY183" fmla="*/ 5360553 h 6858000"/>
              <a:gd name="connsiteX184" fmla="*/ 6017721 w 9740963"/>
              <a:gd name="connsiteY184" fmla="*/ 5349850 h 6858000"/>
              <a:gd name="connsiteX185" fmla="*/ 5981521 w 9740963"/>
              <a:gd name="connsiteY185" fmla="*/ 5325443 h 6858000"/>
              <a:gd name="connsiteX186" fmla="*/ 4400866 w 9740963"/>
              <a:gd name="connsiteY186" fmla="*/ 3744788 h 6858000"/>
              <a:gd name="connsiteX187" fmla="*/ 4400864 w 9740963"/>
              <a:gd name="connsiteY187" fmla="*/ 3744786 h 6858000"/>
              <a:gd name="connsiteX188" fmla="*/ 4380913 w 9740963"/>
              <a:gd name="connsiteY188" fmla="*/ 3724837 h 6858000"/>
              <a:gd name="connsiteX189" fmla="*/ 4359762 w 9740963"/>
              <a:gd name="connsiteY189" fmla="*/ 3693462 h 6858000"/>
              <a:gd name="connsiteX190" fmla="*/ 4349058 w 9740963"/>
              <a:gd name="connsiteY190" fmla="*/ 3640451 h 6858000"/>
              <a:gd name="connsiteX191" fmla="*/ 4432239 w 9740963"/>
              <a:gd name="connsiteY191" fmla="*/ 3514963 h 6858000"/>
              <a:gd name="connsiteX192" fmla="*/ 4476005 w 9740963"/>
              <a:gd name="connsiteY192" fmla="*/ 3506126 h 6858000"/>
              <a:gd name="connsiteX193" fmla="*/ 4494492 w 9740963"/>
              <a:gd name="connsiteY193" fmla="*/ 3506126 h 6858000"/>
              <a:gd name="connsiteX194" fmla="*/ 3925563 w 9740963"/>
              <a:gd name="connsiteY194" fmla="*/ 3506125 h 6858000"/>
              <a:gd name="connsiteX195" fmla="*/ 3978574 w 9740963"/>
              <a:gd name="connsiteY195" fmla="*/ 3516828 h 6858000"/>
              <a:gd name="connsiteX196" fmla="*/ 4014774 w 9740963"/>
              <a:gd name="connsiteY196" fmla="*/ 3541235 h 6858000"/>
              <a:gd name="connsiteX197" fmla="*/ 5595430 w 9740963"/>
              <a:gd name="connsiteY197" fmla="*/ 5121891 h 6858000"/>
              <a:gd name="connsiteX198" fmla="*/ 5595432 w 9740963"/>
              <a:gd name="connsiteY198" fmla="*/ 5121892 h 6858000"/>
              <a:gd name="connsiteX199" fmla="*/ 5615381 w 9740963"/>
              <a:gd name="connsiteY199" fmla="*/ 5141842 h 6858000"/>
              <a:gd name="connsiteX200" fmla="*/ 5636534 w 9740963"/>
              <a:gd name="connsiteY200" fmla="*/ 5173216 h 6858000"/>
              <a:gd name="connsiteX201" fmla="*/ 5647237 w 9740963"/>
              <a:gd name="connsiteY201" fmla="*/ 5226228 h 6858000"/>
              <a:gd name="connsiteX202" fmla="*/ 5564057 w 9740963"/>
              <a:gd name="connsiteY202" fmla="*/ 5351716 h 6858000"/>
              <a:gd name="connsiteX203" fmla="*/ 5520289 w 9740963"/>
              <a:gd name="connsiteY203" fmla="*/ 5360552 h 6858000"/>
              <a:gd name="connsiteX204" fmla="*/ 5501803 w 9740963"/>
              <a:gd name="connsiteY204" fmla="*/ 5360552 h 6858000"/>
              <a:gd name="connsiteX205" fmla="*/ 5501803 w 9740963"/>
              <a:gd name="connsiteY205" fmla="*/ 5360553 h 6858000"/>
              <a:gd name="connsiteX206" fmla="*/ 3932940 w 9740963"/>
              <a:gd name="connsiteY206" fmla="*/ 5360553 h 6858000"/>
              <a:gd name="connsiteX207" fmla="*/ 3914454 w 9740963"/>
              <a:gd name="connsiteY207" fmla="*/ 5360552 h 6858000"/>
              <a:gd name="connsiteX208" fmla="*/ 3870687 w 9740963"/>
              <a:gd name="connsiteY208" fmla="*/ 5351716 h 6858000"/>
              <a:gd name="connsiteX209" fmla="*/ 3798210 w 9740963"/>
              <a:gd name="connsiteY209" fmla="*/ 5279239 h 6858000"/>
              <a:gd name="connsiteX210" fmla="*/ 3789372 w 9740963"/>
              <a:gd name="connsiteY210" fmla="*/ 5235467 h 6858000"/>
              <a:gd name="connsiteX211" fmla="*/ 3789372 w 9740963"/>
              <a:gd name="connsiteY211" fmla="*/ 5216988 h 6858000"/>
              <a:gd name="connsiteX212" fmla="*/ 3789371 w 9740963"/>
              <a:gd name="connsiteY212" fmla="*/ 5216989 h 6858000"/>
              <a:gd name="connsiteX213" fmla="*/ 3789371 w 9740963"/>
              <a:gd name="connsiteY213" fmla="*/ 3642317 h 6858000"/>
              <a:gd name="connsiteX214" fmla="*/ 3789371 w 9740963"/>
              <a:gd name="connsiteY214" fmla="*/ 3642316 h 6858000"/>
              <a:gd name="connsiteX215" fmla="*/ 3925563 w 9740963"/>
              <a:gd name="connsiteY215" fmla="*/ 3506125 h 6858000"/>
              <a:gd name="connsiteX216" fmla="*/ 3526024 w 9740963"/>
              <a:gd name="connsiteY216" fmla="*/ 3506125 h 6858000"/>
              <a:gd name="connsiteX217" fmla="*/ 3662215 w 9740963"/>
              <a:gd name="connsiteY217" fmla="*/ 3642316 h 6858000"/>
              <a:gd name="connsiteX218" fmla="*/ 3662215 w 9740963"/>
              <a:gd name="connsiteY218" fmla="*/ 3642317 h 6858000"/>
              <a:gd name="connsiteX219" fmla="*/ 3662215 w 9740963"/>
              <a:gd name="connsiteY219" fmla="*/ 5216988 h 6858000"/>
              <a:gd name="connsiteX220" fmla="*/ 3662215 w 9740963"/>
              <a:gd name="connsiteY220" fmla="*/ 5216989 h 6858000"/>
              <a:gd name="connsiteX221" fmla="*/ 3662215 w 9740963"/>
              <a:gd name="connsiteY221" fmla="*/ 5235467 h 6858000"/>
              <a:gd name="connsiteX222" fmla="*/ 3653377 w 9740963"/>
              <a:gd name="connsiteY222" fmla="*/ 5279239 h 6858000"/>
              <a:gd name="connsiteX223" fmla="*/ 3580900 w 9740963"/>
              <a:gd name="connsiteY223" fmla="*/ 5351716 h 6858000"/>
              <a:gd name="connsiteX224" fmla="*/ 3537132 w 9740963"/>
              <a:gd name="connsiteY224" fmla="*/ 5360552 h 6858000"/>
              <a:gd name="connsiteX225" fmla="*/ 3518647 w 9740963"/>
              <a:gd name="connsiteY225" fmla="*/ 5360553 h 6858000"/>
              <a:gd name="connsiteX226" fmla="*/ 1949784 w 9740963"/>
              <a:gd name="connsiteY226" fmla="*/ 5360553 h 6858000"/>
              <a:gd name="connsiteX227" fmla="*/ 1949784 w 9740963"/>
              <a:gd name="connsiteY227" fmla="*/ 5360552 h 6858000"/>
              <a:gd name="connsiteX228" fmla="*/ 1931296 w 9740963"/>
              <a:gd name="connsiteY228" fmla="*/ 5360552 h 6858000"/>
              <a:gd name="connsiteX229" fmla="*/ 1887528 w 9740963"/>
              <a:gd name="connsiteY229" fmla="*/ 5351716 h 6858000"/>
              <a:gd name="connsiteX230" fmla="*/ 1804350 w 9740963"/>
              <a:gd name="connsiteY230" fmla="*/ 5226228 h 6858000"/>
              <a:gd name="connsiteX231" fmla="*/ 1815052 w 9740963"/>
              <a:gd name="connsiteY231" fmla="*/ 5173216 h 6858000"/>
              <a:gd name="connsiteX232" fmla="*/ 1836205 w 9740963"/>
              <a:gd name="connsiteY232" fmla="*/ 5141842 h 6858000"/>
              <a:gd name="connsiteX233" fmla="*/ 1856154 w 9740963"/>
              <a:gd name="connsiteY233" fmla="*/ 5121892 h 6858000"/>
              <a:gd name="connsiteX234" fmla="*/ 1856156 w 9740963"/>
              <a:gd name="connsiteY234" fmla="*/ 5121891 h 6858000"/>
              <a:gd name="connsiteX235" fmla="*/ 3436812 w 9740963"/>
              <a:gd name="connsiteY235" fmla="*/ 3541235 h 6858000"/>
              <a:gd name="connsiteX236" fmla="*/ 3473013 w 9740963"/>
              <a:gd name="connsiteY236" fmla="*/ 3516828 h 6858000"/>
              <a:gd name="connsiteX237" fmla="*/ 3526024 w 9740963"/>
              <a:gd name="connsiteY237" fmla="*/ 3506125 h 6858000"/>
              <a:gd name="connsiteX238" fmla="*/ 9740963 w 9740963"/>
              <a:gd name="connsiteY238" fmla="*/ 2862533 h 6858000"/>
              <a:gd name="connsiteX239" fmla="*/ 9740963 w 9740963"/>
              <a:gd name="connsiteY239" fmla="*/ 3351876 h 6858000"/>
              <a:gd name="connsiteX240" fmla="*/ 9583907 w 9740963"/>
              <a:gd name="connsiteY240" fmla="*/ 3351876 h 6858000"/>
              <a:gd name="connsiteX241" fmla="*/ 9583907 w 9740963"/>
              <a:gd name="connsiteY241" fmla="*/ 3351875 h 6858000"/>
              <a:gd name="connsiteX242" fmla="*/ 9565421 w 9740963"/>
              <a:gd name="connsiteY242" fmla="*/ 3351875 h 6858000"/>
              <a:gd name="connsiteX243" fmla="*/ 9521653 w 9740963"/>
              <a:gd name="connsiteY243" fmla="*/ 3343039 h 6858000"/>
              <a:gd name="connsiteX244" fmla="*/ 9438473 w 9740963"/>
              <a:gd name="connsiteY244" fmla="*/ 3217551 h 6858000"/>
              <a:gd name="connsiteX245" fmla="*/ 9449177 w 9740963"/>
              <a:gd name="connsiteY245" fmla="*/ 3164541 h 6858000"/>
              <a:gd name="connsiteX246" fmla="*/ 9470329 w 9740963"/>
              <a:gd name="connsiteY246" fmla="*/ 3133166 h 6858000"/>
              <a:gd name="connsiteX247" fmla="*/ 9490279 w 9740963"/>
              <a:gd name="connsiteY247" fmla="*/ 3113216 h 6858000"/>
              <a:gd name="connsiteX248" fmla="*/ 9490281 w 9740963"/>
              <a:gd name="connsiteY248" fmla="*/ 3113215 h 6858000"/>
              <a:gd name="connsiteX249" fmla="*/ 9022355 w 9740963"/>
              <a:gd name="connsiteY249" fmla="*/ 1497450 h 6858000"/>
              <a:gd name="connsiteX250" fmla="*/ 9740963 w 9740963"/>
              <a:gd name="connsiteY250" fmla="*/ 1497450 h 6858000"/>
              <a:gd name="connsiteX251" fmla="*/ 9740963 w 9740963"/>
              <a:gd name="connsiteY251" fmla="*/ 2679993 h 6858000"/>
              <a:gd name="connsiteX252" fmla="*/ 9104189 w 9740963"/>
              <a:gd name="connsiteY252" fmla="*/ 3316766 h 6858000"/>
              <a:gd name="connsiteX253" fmla="*/ 9067989 w 9740963"/>
              <a:gd name="connsiteY253" fmla="*/ 3341173 h 6858000"/>
              <a:gd name="connsiteX254" fmla="*/ 9014977 w 9740963"/>
              <a:gd name="connsiteY254" fmla="*/ 3351876 h 6858000"/>
              <a:gd name="connsiteX255" fmla="*/ 8878787 w 9740963"/>
              <a:gd name="connsiteY255" fmla="*/ 3215686 h 6858000"/>
              <a:gd name="connsiteX256" fmla="*/ 8878787 w 9740963"/>
              <a:gd name="connsiteY256" fmla="*/ 3215685 h 6858000"/>
              <a:gd name="connsiteX257" fmla="*/ 8878787 w 9740963"/>
              <a:gd name="connsiteY257" fmla="*/ 1641015 h 6858000"/>
              <a:gd name="connsiteX258" fmla="*/ 8878787 w 9740963"/>
              <a:gd name="connsiteY258" fmla="*/ 1641014 h 6858000"/>
              <a:gd name="connsiteX259" fmla="*/ 8878787 w 9740963"/>
              <a:gd name="connsiteY259" fmla="*/ 1622536 h 6858000"/>
              <a:gd name="connsiteX260" fmla="*/ 8887625 w 9740963"/>
              <a:gd name="connsiteY260" fmla="*/ 1578764 h 6858000"/>
              <a:gd name="connsiteX261" fmla="*/ 8960101 w 9740963"/>
              <a:gd name="connsiteY261" fmla="*/ 1506287 h 6858000"/>
              <a:gd name="connsiteX262" fmla="*/ 9003869 w 9740963"/>
              <a:gd name="connsiteY262" fmla="*/ 1497451 h 6858000"/>
              <a:gd name="connsiteX263" fmla="*/ 7039199 w 9740963"/>
              <a:gd name="connsiteY263" fmla="*/ 1497450 h 6858000"/>
              <a:gd name="connsiteX264" fmla="*/ 8608063 w 9740963"/>
              <a:gd name="connsiteY264" fmla="*/ 1497450 h 6858000"/>
              <a:gd name="connsiteX265" fmla="*/ 8626549 w 9740963"/>
              <a:gd name="connsiteY265" fmla="*/ 1497451 h 6858000"/>
              <a:gd name="connsiteX266" fmla="*/ 8670317 w 9740963"/>
              <a:gd name="connsiteY266" fmla="*/ 1506287 h 6858000"/>
              <a:gd name="connsiteX267" fmla="*/ 8742793 w 9740963"/>
              <a:gd name="connsiteY267" fmla="*/ 1578764 h 6858000"/>
              <a:gd name="connsiteX268" fmla="*/ 8751631 w 9740963"/>
              <a:gd name="connsiteY268" fmla="*/ 1622536 h 6858000"/>
              <a:gd name="connsiteX269" fmla="*/ 8751631 w 9740963"/>
              <a:gd name="connsiteY269" fmla="*/ 1641014 h 6858000"/>
              <a:gd name="connsiteX270" fmla="*/ 8751631 w 9740963"/>
              <a:gd name="connsiteY270" fmla="*/ 1641015 h 6858000"/>
              <a:gd name="connsiteX271" fmla="*/ 8751631 w 9740963"/>
              <a:gd name="connsiteY271" fmla="*/ 3215685 h 6858000"/>
              <a:gd name="connsiteX272" fmla="*/ 8751631 w 9740963"/>
              <a:gd name="connsiteY272" fmla="*/ 3215686 h 6858000"/>
              <a:gd name="connsiteX273" fmla="*/ 8615441 w 9740963"/>
              <a:gd name="connsiteY273" fmla="*/ 3351876 h 6858000"/>
              <a:gd name="connsiteX274" fmla="*/ 8562429 w 9740963"/>
              <a:gd name="connsiteY274" fmla="*/ 3341173 h 6858000"/>
              <a:gd name="connsiteX275" fmla="*/ 8526229 w 9740963"/>
              <a:gd name="connsiteY275" fmla="*/ 3316766 h 6858000"/>
              <a:gd name="connsiteX276" fmla="*/ 6945573 w 9740963"/>
              <a:gd name="connsiteY276" fmla="*/ 1736112 h 6858000"/>
              <a:gd name="connsiteX277" fmla="*/ 6945571 w 9740963"/>
              <a:gd name="connsiteY277" fmla="*/ 1736111 h 6858000"/>
              <a:gd name="connsiteX278" fmla="*/ 6925621 w 9740963"/>
              <a:gd name="connsiteY278" fmla="*/ 1716161 h 6858000"/>
              <a:gd name="connsiteX279" fmla="*/ 6904469 w 9740963"/>
              <a:gd name="connsiteY279" fmla="*/ 1684787 h 6858000"/>
              <a:gd name="connsiteX280" fmla="*/ 6893765 w 9740963"/>
              <a:gd name="connsiteY280" fmla="*/ 1631775 h 6858000"/>
              <a:gd name="connsiteX281" fmla="*/ 6976945 w 9740963"/>
              <a:gd name="connsiteY281" fmla="*/ 1506287 h 6858000"/>
              <a:gd name="connsiteX282" fmla="*/ 7020713 w 9740963"/>
              <a:gd name="connsiteY282" fmla="*/ 1497451 h 6858000"/>
              <a:gd name="connsiteX283" fmla="*/ 7039199 w 9740963"/>
              <a:gd name="connsiteY283" fmla="*/ 1497451 h 6858000"/>
              <a:gd name="connsiteX284" fmla="*/ 6470269 w 9740963"/>
              <a:gd name="connsiteY284" fmla="*/ 1497450 h 6858000"/>
              <a:gd name="connsiteX285" fmla="*/ 6523281 w 9740963"/>
              <a:gd name="connsiteY285" fmla="*/ 1508153 h 6858000"/>
              <a:gd name="connsiteX286" fmla="*/ 6559481 w 9740963"/>
              <a:gd name="connsiteY286" fmla="*/ 1532560 h 6858000"/>
              <a:gd name="connsiteX287" fmla="*/ 8140137 w 9740963"/>
              <a:gd name="connsiteY287" fmla="*/ 3113215 h 6858000"/>
              <a:gd name="connsiteX288" fmla="*/ 8140139 w 9740963"/>
              <a:gd name="connsiteY288" fmla="*/ 3113216 h 6858000"/>
              <a:gd name="connsiteX289" fmla="*/ 8160089 w 9740963"/>
              <a:gd name="connsiteY289" fmla="*/ 3133166 h 6858000"/>
              <a:gd name="connsiteX290" fmla="*/ 8181241 w 9740963"/>
              <a:gd name="connsiteY290" fmla="*/ 3164541 h 6858000"/>
              <a:gd name="connsiteX291" fmla="*/ 8191945 w 9740963"/>
              <a:gd name="connsiteY291" fmla="*/ 3217551 h 6858000"/>
              <a:gd name="connsiteX292" fmla="*/ 8108765 w 9740963"/>
              <a:gd name="connsiteY292" fmla="*/ 3343039 h 6858000"/>
              <a:gd name="connsiteX293" fmla="*/ 8064997 w 9740963"/>
              <a:gd name="connsiteY293" fmla="*/ 3351875 h 6858000"/>
              <a:gd name="connsiteX294" fmla="*/ 8046511 w 9740963"/>
              <a:gd name="connsiteY294" fmla="*/ 3351875 h 6858000"/>
              <a:gd name="connsiteX295" fmla="*/ 8046511 w 9740963"/>
              <a:gd name="connsiteY295" fmla="*/ 3351876 h 6858000"/>
              <a:gd name="connsiteX296" fmla="*/ 6477647 w 9740963"/>
              <a:gd name="connsiteY296" fmla="*/ 3351876 h 6858000"/>
              <a:gd name="connsiteX297" fmla="*/ 6459161 w 9740963"/>
              <a:gd name="connsiteY297" fmla="*/ 3351875 h 6858000"/>
              <a:gd name="connsiteX298" fmla="*/ 6415393 w 9740963"/>
              <a:gd name="connsiteY298" fmla="*/ 3343039 h 6858000"/>
              <a:gd name="connsiteX299" fmla="*/ 6342917 w 9740963"/>
              <a:gd name="connsiteY299" fmla="*/ 3270562 h 6858000"/>
              <a:gd name="connsiteX300" fmla="*/ 6334079 w 9740963"/>
              <a:gd name="connsiteY300" fmla="*/ 3226790 h 6858000"/>
              <a:gd name="connsiteX301" fmla="*/ 6334079 w 9740963"/>
              <a:gd name="connsiteY301" fmla="*/ 3208313 h 6858000"/>
              <a:gd name="connsiteX302" fmla="*/ 6334079 w 9740963"/>
              <a:gd name="connsiteY302" fmla="*/ 3208312 h 6858000"/>
              <a:gd name="connsiteX303" fmla="*/ 6334079 w 9740963"/>
              <a:gd name="connsiteY303" fmla="*/ 1633642 h 6858000"/>
              <a:gd name="connsiteX304" fmla="*/ 6334079 w 9740963"/>
              <a:gd name="connsiteY304" fmla="*/ 1633641 h 6858000"/>
              <a:gd name="connsiteX305" fmla="*/ 6470269 w 9740963"/>
              <a:gd name="connsiteY305" fmla="*/ 1497450 h 6858000"/>
              <a:gd name="connsiteX306" fmla="*/ 6070733 w 9740963"/>
              <a:gd name="connsiteY306" fmla="*/ 1497450 h 6858000"/>
              <a:gd name="connsiteX307" fmla="*/ 6206923 w 9740963"/>
              <a:gd name="connsiteY307" fmla="*/ 1633641 h 6858000"/>
              <a:gd name="connsiteX308" fmla="*/ 6206923 w 9740963"/>
              <a:gd name="connsiteY308" fmla="*/ 1633642 h 6858000"/>
              <a:gd name="connsiteX309" fmla="*/ 6206923 w 9740963"/>
              <a:gd name="connsiteY309" fmla="*/ 3208312 h 6858000"/>
              <a:gd name="connsiteX310" fmla="*/ 6206923 w 9740963"/>
              <a:gd name="connsiteY310" fmla="*/ 3208313 h 6858000"/>
              <a:gd name="connsiteX311" fmla="*/ 6206923 w 9740963"/>
              <a:gd name="connsiteY311" fmla="*/ 3226790 h 6858000"/>
              <a:gd name="connsiteX312" fmla="*/ 6198085 w 9740963"/>
              <a:gd name="connsiteY312" fmla="*/ 3270562 h 6858000"/>
              <a:gd name="connsiteX313" fmla="*/ 6125609 w 9740963"/>
              <a:gd name="connsiteY313" fmla="*/ 3343039 h 6858000"/>
              <a:gd name="connsiteX314" fmla="*/ 6081841 w 9740963"/>
              <a:gd name="connsiteY314" fmla="*/ 3351875 h 6858000"/>
              <a:gd name="connsiteX315" fmla="*/ 6063355 w 9740963"/>
              <a:gd name="connsiteY315" fmla="*/ 3351876 h 6858000"/>
              <a:gd name="connsiteX316" fmla="*/ 4494492 w 9740963"/>
              <a:gd name="connsiteY316" fmla="*/ 3351876 h 6858000"/>
              <a:gd name="connsiteX317" fmla="*/ 4494492 w 9740963"/>
              <a:gd name="connsiteY317" fmla="*/ 3351875 h 6858000"/>
              <a:gd name="connsiteX318" fmla="*/ 4476005 w 9740963"/>
              <a:gd name="connsiteY318" fmla="*/ 3351875 h 6858000"/>
              <a:gd name="connsiteX319" fmla="*/ 4432239 w 9740963"/>
              <a:gd name="connsiteY319" fmla="*/ 3343039 h 6858000"/>
              <a:gd name="connsiteX320" fmla="*/ 4349059 w 9740963"/>
              <a:gd name="connsiteY320" fmla="*/ 3217551 h 6858000"/>
              <a:gd name="connsiteX321" fmla="*/ 4359762 w 9740963"/>
              <a:gd name="connsiteY321" fmla="*/ 3164541 h 6858000"/>
              <a:gd name="connsiteX322" fmla="*/ 4380915 w 9740963"/>
              <a:gd name="connsiteY322" fmla="*/ 3133166 h 6858000"/>
              <a:gd name="connsiteX323" fmla="*/ 4400864 w 9740963"/>
              <a:gd name="connsiteY323" fmla="*/ 3113216 h 6858000"/>
              <a:gd name="connsiteX324" fmla="*/ 4400867 w 9740963"/>
              <a:gd name="connsiteY324" fmla="*/ 3113215 h 6858000"/>
              <a:gd name="connsiteX325" fmla="*/ 5981521 w 9740963"/>
              <a:gd name="connsiteY325" fmla="*/ 1532560 h 6858000"/>
              <a:gd name="connsiteX326" fmla="*/ 6017721 w 9740963"/>
              <a:gd name="connsiteY326" fmla="*/ 1508153 h 6858000"/>
              <a:gd name="connsiteX327" fmla="*/ 6070733 w 9740963"/>
              <a:gd name="connsiteY327" fmla="*/ 1497450 h 6858000"/>
              <a:gd name="connsiteX328" fmla="*/ 3932943 w 9740963"/>
              <a:gd name="connsiteY328" fmla="*/ 1497450 h 6858000"/>
              <a:gd name="connsiteX329" fmla="*/ 5501803 w 9740963"/>
              <a:gd name="connsiteY329" fmla="*/ 1497450 h 6858000"/>
              <a:gd name="connsiteX330" fmla="*/ 5501803 w 9740963"/>
              <a:gd name="connsiteY330" fmla="*/ 1497451 h 6858000"/>
              <a:gd name="connsiteX331" fmla="*/ 5520290 w 9740963"/>
              <a:gd name="connsiteY331" fmla="*/ 1497451 h 6858000"/>
              <a:gd name="connsiteX332" fmla="*/ 5564058 w 9740963"/>
              <a:gd name="connsiteY332" fmla="*/ 1506287 h 6858000"/>
              <a:gd name="connsiteX333" fmla="*/ 5647237 w 9740963"/>
              <a:gd name="connsiteY333" fmla="*/ 1631775 h 6858000"/>
              <a:gd name="connsiteX334" fmla="*/ 5636534 w 9740963"/>
              <a:gd name="connsiteY334" fmla="*/ 1684787 h 6858000"/>
              <a:gd name="connsiteX335" fmla="*/ 5615382 w 9740963"/>
              <a:gd name="connsiteY335" fmla="*/ 1716161 h 6858000"/>
              <a:gd name="connsiteX336" fmla="*/ 5595432 w 9740963"/>
              <a:gd name="connsiteY336" fmla="*/ 1736111 h 6858000"/>
              <a:gd name="connsiteX337" fmla="*/ 5595430 w 9740963"/>
              <a:gd name="connsiteY337" fmla="*/ 1736112 h 6858000"/>
              <a:gd name="connsiteX338" fmla="*/ 4014775 w 9740963"/>
              <a:gd name="connsiteY338" fmla="*/ 3316766 h 6858000"/>
              <a:gd name="connsiteX339" fmla="*/ 3978575 w 9740963"/>
              <a:gd name="connsiteY339" fmla="*/ 3341173 h 6858000"/>
              <a:gd name="connsiteX340" fmla="*/ 3925563 w 9740963"/>
              <a:gd name="connsiteY340" fmla="*/ 3351876 h 6858000"/>
              <a:gd name="connsiteX341" fmla="*/ 3789371 w 9740963"/>
              <a:gd name="connsiteY341" fmla="*/ 3215686 h 6858000"/>
              <a:gd name="connsiteX342" fmla="*/ 3789371 w 9740963"/>
              <a:gd name="connsiteY342" fmla="*/ 3215685 h 6858000"/>
              <a:gd name="connsiteX343" fmla="*/ 3789372 w 9740963"/>
              <a:gd name="connsiteY343" fmla="*/ 1641014 h 6858000"/>
              <a:gd name="connsiteX344" fmla="*/ 3789374 w 9740963"/>
              <a:gd name="connsiteY344" fmla="*/ 1641015 h 6858000"/>
              <a:gd name="connsiteX345" fmla="*/ 3789374 w 9740963"/>
              <a:gd name="connsiteY345" fmla="*/ 1622536 h 6858000"/>
              <a:gd name="connsiteX346" fmla="*/ 3798210 w 9740963"/>
              <a:gd name="connsiteY346" fmla="*/ 1578764 h 6858000"/>
              <a:gd name="connsiteX347" fmla="*/ 3870687 w 9740963"/>
              <a:gd name="connsiteY347" fmla="*/ 1506287 h 6858000"/>
              <a:gd name="connsiteX348" fmla="*/ 3914456 w 9740963"/>
              <a:gd name="connsiteY348" fmla="*/ 1497451 h 6858000"/>
              <a:gd name="connsiteX349" fmla="*/ 1949785 w 9740963"/>
              <a:gd name="connsiteY349" fmla="*/ 1497450 h 6858000"/>
              <a:gd name="connsiteX350" fmla="*/ 3518648 w 9740963"/>
              <a:gd name="connsiteY350" fmla="*/ 1497450 h 6858000"/>
              <a:gd name="connsiteX351" fmla="*/ 3537134 w 9740963"/>
              <a:gd name="connsiteY351" fmla="*/ 1497451 h 6858000"/>
              <a:gd name="connsiteX352" fmla="*/ 3580902 w 9740963"/>
              <a:gd name="connsiteY352" fmla="*/ 1506287 h 6858000"/>
              <a:gd name="connsiteX353" fmla="*/ 3653380 w 9740963"/>
              <a:gd name="connsiteY353" fmla="*/ 1578764 h 6858000"/>
              <a:gd name="connsiteX354" fmla="*/ 3662216 w 9740963"/>
              <a:gd name="connsiteY354" fmla="*/ 1622536 h 6858000"/>
              <a:gd name="connsiteX355" fmla="*/ 3662216 w 9740963"/>
              <a:gd name="connsiteY355" fmla="*/ 1641015 h 6858000"/>
              <a:gd name="connsiteX356" fmla="*/ 3662218 w 9740963"/>
              <a:gd name="connsiteY356" fmla="*/ 1641014 h 6858000"/>
              <a:gd name="connsiteX357" fmla="*/ 3662217 w 9740963"/>
              <a:gd name="connsiteY357" fmla="*/ 3215685 h 6858000"/>
              <a:gd name="connsiteX358" fmla="*/ 3662217 w 9740963"/>
              <a:gd name="connsiteY358" fmla="*/ 3215686 h 6858000"/>
              <a:gd name="connsiteX359" fmla="*/ 3526026 w 9740963"/>
              <a:gd name="connsiteY359" fmla="*/ 3351876 h 6858000"/>
              <a:gd name="connsiteX360" fmla="*/ 3473014 w 9740963"/>
              <a:gd name="connsiteY360" fmla="*/ 3341173 h 6858000"/>
              <a:gd name="connsiteX361" fmla="*/ 3436813 w 9740963"/>
              <a:gd name="connsiteY361" fmla="*/ 3316766 h 6858000"/>
              <a:gd name="connsiteX362" fmla="*/ 1856157 w 9740963"/>
              <a:gd name="connsiteY362" fmla="*/ 1736112 h 6858000"/>
              <a:gd name="connsiteX363" fmla="*/ 1856156 w 9740963"/>
              <a:gd name="connsiteY363" fmla="*/ 1736111 h 6858000"/>
              <a:gd name="connsiteX364" fmla="*/ 1836206 w 9740963"/>
              <a:gd name="connsiteY364" fmla="*/ 1716161 h 6858000"/>
              <a:gd name="connsiteX365" fmla="*/ 1815054 w 9740963"/>
              <a:gd name="connsiteY365" fmla="*/ 1684787 h 6858000"/>
              <a:gd name="connsiteX366" fmla="*/ 1804351 w 9740963"/>
              <a:gd name="connsiteY366" fmla="*/ 1631775 h 6858000"/>
              <a:gd name="connsiteX367" fmla="*/ 1887531 w 9740963"/>
              <a:gd name="connsiteY367" fmla="*/ 1506287 h 6858000"/>
              <a:gd name="connsiteX368" fmla="*/ 1931299 w 9740963"/>
              <a:gd name="connsiteY368" fmla="*/ 1497451 h 6858000"/>
              <a:gd name="connsiteX369" fmla="*/ 1949785 w 9740963"/>
              <a:gd name="connsiteY369" fmla="*/ 1497451 h 6858000"/>
              <a:gd name="connsiteX370" fmla="*/ 9740963 w 9740963"/>
              <a:gd name="connsiteY370" fmla="*/ 853857 h 6858000"/>
              <a:gd name="connsiteX371" fmla="*/ 9740963 w 9740963"/>
              <a:gd name="connsiteY371" fmla="*/ 1343201 h 6858000"/>
              <a:gd name="connsiteX372" fmla="*/ 9583907 w 9740963"/>
              <a:gd name="connsiteY372" fmla="*/ 1343201 h 6858000"/>
              <a:gd name="connsiteX373" fmla="*/ 9583907 w 9740963"/>
              <a:gd name="connsiteY373" fmla="*/ 1343200 h 6858000"/>
              <a:gd name="connsiteX374" fmla="*/ 9565421 w 9740963"/>
              <a:gd name="connsiteY374" fmla="*/ 1343200 h 6858000"/>
              <a:gd name="connsiteX375" fmla="*/ 9521653 w 9740963"/>
              <a:gd name="connsiteY375" fmla="*/ 1334363 h 6858000"/>
              <a:gd name="connsiteX376" fmla="*/ 9438473 w 9740963"/>
              <a:gd name="connsiteY376" fmla="*/ 1208876 h 6858000"/>
              <a:gd name="connsiteX377" fmla="*/ 9449177 w 9740963"/>
              <a:gd name="connsiteY377" fmla="*/ 1155864 h 6858000"/>
              <a:gd name="connsiteX378" fmla="*/ 9470329 w 9740963"/>
              <a:gd name="connsiteY378" fmla="*/ 1124490 h 6858000"/>
              <a:gd name="connsiteX379" fmla="*/ 9490279 w 9740963"/>
              <a:gd name="connsiteY379" fmla="*/ 1104541 h 6858000"/>
              <a:gd name="connsiteX380" fmla="*/ 9490281 w 9740963"/>
              <a:gd name="connsiteY380" fmla="*/ 1104539 h 6858000"/>
              <a:gd name="connsiteX381" fmla="*/ 8878787 w 9740963"/>
              <a:gd name="connsiteY381" fmla="*/ 0 h 6858000"/>
              <a:gd name="connsiteX382" fmla="*/ 9740963 w 9740963"/>
              <a:gd name="connsiteY382" fmla="*/ 0 h 6858000"/>
              <a:gd name="connsiteX383" fmla="*/ 9740963 w 9740963"/>
              <a:gd name="connsiteY383" fmla="*/ 671317 h 6858000"/>
              <a:gd name="connsiteX384" fmla="*/ 9104189 w 9740963"/>
              <a:gd name="connsiteY384" fmla="*/ 1308091 h 6858000"/>
              <a:gd name="connsiteX385" fmla="*/ 9067989 w 9740963"/>
              <a:gd name="connsiteY385" fmla="*/ 1332498 h 6858000"/>
              <a:gd name="connsiteX386" fmla="*/ 9014977 w 9740963"/>
              <a:gd name="connsiteY386" fmla="*/ 1343201 h 6858000"/>
              <a:gd name="connsiteX387" fmla="*/ 8878787 w 9740963"/>
              <a:gd name="connsiteY387" fmla="*/ 1207011 h 6858000"/>
              <a:gd name="connsiteX388" fmla="*/ 8878787 w 9740963"/>
              <a:gd name="connsiteY388" fmla="*/ 1207009 h 6858000"/>
              <a:gd name="connsiteX389" fmla="*/ 7218138 w 9740963"/>
              <a:gd name="connsiteY389" fmla="*/ 0 h 6858000"/>
              <a:gd name="connsiteX390" fmla="*/ 8751631 w 9740963"/>
              <a:gd name="connsiteY390" fmla="*/ 0 h 6858000"/>
              <a:gd name="connsiteX391" fmla="*/ 8751631 w 9740963"/>
              <a:gd name="connsiteY391" fmla="*/ 1207009 h 6858000"/>
              <a:gd name="connsiteX392" fmla="*/ 8751631 w 9740963"/>
              <a:gd name="connsiteY392" fmla="*/ 1207011 h 6858000"/>
              <a:gd name="connsiteX393" fmla="*/ 8615441 w 9740963"/>
              <a:gd name="connsiteY393" fmla="*/ 1343201 h 6858000"/>
              <a:gd name="connsiteX394" fmla="*/ 8562429 w 9740963"/>
              <a:gd name="connsiteY394" fmla="*/ 1332498 h 6858000"/>
              <a:gd name="connsiteX395" fmla="*/ 8526229 w 9740963"/>
              <a:gd name="connsiteY395" fmla="*/ 1308091 h 6858000"/>
              <a:gd name="connsiteX396" fmla="*/ 6334079 w 9740963"/>
              <a:gd name="connsiteY396" fmla="*/ 0 h 6858000"/>
              <a:gd name="connsiteX397" fmla="*/ 7035598 w 9740963"/>
              <a:gd name="connsiteY397" fmla="*/ 0 h 6858000"/>
              <a:gd name="connsiteX398" fmla="*/ 8140137 w 9740963"/>
              <a:gd name="connsiteY398" fmla="*/ 1104539 h 6858000"/>
              <a:gd name="connsiteX399" fmla="*/ 8140139 w 9740963"/>
              <a:gd name="connsiteY399" fmla="*/ 1104541 h 6858000"/>
              <a:gd name="connsiteX400" fmla="*/ 8160089 w 9740963"/>
              <a:gd name="connsiteY400" fmla="*/ 1124490 h 6858000"/>
              <a:gd name="connsiteX401" fmla="*/ 8181241 w 9740963"/>
              <a:gd name="connsiteY401" fmla="*/ 1155864 h 6858000"/>
              <a:gd name="connsiteX402" fmla="*/ 8191945 w 9740963"/>
              <a:gd name="connsiteY402" fmla="*/ 1208876 h 6858000"/>
              <a:gd name="connsiteX403" fmla="*/ 8108765 w 9740963"/>
              <a:gd name="connsiteY403" fmla="*/ 1334363 h 6858000"/>
              <a:gd name="connsiteX404" fmla="*/ 8064997 w 9740963"/>
              <a:gd name="connsiteY404" fmla="*/ 1343200 h 6858000"/>
              <a:gd name="connsiteX405" fmla="*/ 8046511 w 9740963"/>
              <a:gd name="connsiteY405" fmla="*/ 1343200 h 6858000"/>
              <a:gd name="connsiteX406" fmla="*/ 8046511 w 9740963"/>
              <a:gd name="connsiteY406" fmla="*/ 1343201 h 6858000"/>
              <a:gd name="connsiteX407" fmla="*/ 6477647 w 9740963"/>
              <a:gd name="connsiteY407" fmla="*/ 1343201 h 6858000"/>
              <a:gd name="connsiteX408" fmla="*/ 6459161 w 9740963"/>
              <a:gd name="connsiteY408" fmla="*/ 1343200 h 6858000"/>
              <a:gd name="connsiteX409" fmla="*/ 6415393 w 9740963"/>
              <a:gd name="connsiteY409" fmla="*/ 1334363 h 6858000"/>
              <a:gd name="connsiteX410" fmla="*/ 6342917 w 9740963"/>
              <a:gd name="connsiteY410" fmla="*/ 1261887 h 6858000"/>
              <a:gd name="connsiteX411" fmla="*/ 6334079 w 9740963"/>
              <a:gd name="connsiteY411" fmla="*/ 1218115 h 6858000"/>
              <a:gd name="connsiteX412" fmla="*/ 6334079 w 9740963"/>
              <a:gd name="connsiteY412" fmla="*/ 1199637 h 6858000"/>
              <a:gd name="connsiteX413" fmla="*/ 6334079 w 9740963"/>
              <a:gd name="connsiteY413" fmla="*/ 1199636 h 6858000"/>
              <a:gd name="connsiteX414" fmla="*/ 5505405 w 9740963"/>
              <a:gd name="connsiteY414" fmla="*/ 0 h 6858000"/>
              <a:gd name="connsiteX415" fmla="*/ 6206923 w 9740963"/>
              <a:gd name="connsiteY415" fmla="*/ 0 h 6858000"/>
              <a:gd name="connsiteX416" fmla="*/ 6206923 w 9740963"/>
              <a:gd name="connsiteY416" fmla="*/ 1199636 h 6858000"/>
              <a:gd name="connsiteX417" fmla="*/ 6206923 w 9740963"/>
              <a:gd name="connsiteY417" fmla="*/ 1199637 h 6858000"/>
              <a:gd name="connsiteX418" fmla="*/ 6206923 w 9740963"/>
              <a:gd name="connsiteY418" fmla="*/ 1218115 h 6858000"/>
              <a:gd name="connsiteX419" fmla="*/ 6198085 w 9740963"/>
              <a:gd name="connsiteY419" fmla="*/ 1261887 h 6858000"/>
              <a:gd name="connsiteX420" fmla="*/ 6125609 w 9740963"/>
              <a:gd name="connsiteY420" fmla="*/ 1334363 h 6858000"/>
              <a:gd name="connsiteX421" fmla="*/ 6081841 w 9740963"/>
              <a:gd name="connsiteY421" fmla="*/ 1343200 h 6858000"/>
              <a:gd name="connsiteX422" fmla="*/ 6063355 w 9740963"/>
              <a:gd name="connsiteY422" fmla="*/ 1343201 h 6858000"/>
              <a:gd name="connsiteX423" fmla="*/ 4494493 w 9740963"/>
              <a:gd name="connsiteY423" fmla="*/ 1343201 h 6858000"/>
              <a:gd name="connsiteX424" fmla="*/ 4494493 w 9740963"/>
              <a:gd name="connsiteY424" fmla="*/ 1343200 h 6858000"/>
              <a:gd name="connsiteX425" fmla="*/ 4476006 w 9740963"/>
              <a:gd name="connsiteY425" fmla="*/ 1343200 h 6858000"/>
              <a:gd name="connsiteX426" fmla="*/ 4432239 w 9740963"/>
              <a:gd name="connsiteY426" fmla="*/ 1334363 h 6858000"/>
              <a:gd name="connsiteX427" fmla="*/ 4349060 w 9740963"/>
              <a:gd name="connsiteY427" fmla="*/ 1208876 h 6858000"/>
              <a:gd name="connsiteX428" fmla="*/ 4359762 w 9740963"/>
              <a:gd name="connsiteY428" fmla="*/ 1155864 h 6858000"/>
              <a:gd name="connsiteX429" fmla="*/ 4380915 w 9740963"/>
              <a:gd name="connsiteY429" fmla="*/ 1124490 h 6858000"/>
              <a:gd name="connsiteX430" fmla="*/ 4400865 w 9740963"/>
              <a:gd name="connsiteY430" fmla="*/ 1104541 h 6858000"/>
              <a:gd name="connsiteX431" fmla="*/ 4400867 w 9740963"/>
              <a:gd name="connsiteY431" fmla="*/ 1104539 h 6858000"/>
              <a:gd name="connsiteX432" fmla="*/ 3789372 w 9740963"/>
              <a:gd name="connsiteY432" fmla="*/ 0 h 6858000"/>
              <a:gd name="connsiteX433" fmla="*/ 5322865 w 9740963"/>
              <a:gd name="connsiteY433" fmla="*/ 0 h 6858000"/>
              <a:gd name="connsiteX434" fmla="*/ 4014775 w 9740963"/>
              <a:gd name="connsiteY434" fmla="*/ 1308091 h 6858000"/>
              <a:gd name="connsiteX435" fmla="*/ 3978576 w 9740963"/>
              <a:gd name="connsiteY435" fmla="*/ 1332498 h 6858000"/>
              <a:gd name="connsiteX436" fmla="*/ 3925564 w 9740963"/>
              <a:gd name="connsiteY436" fmla="*/ 1343201 h 6858000"/>
              <a:gd name="connsiteX437" fmla="*/ 3789372 w 9740963"/>
              <a:gd name="connsiteY437" fmla="*/ 1207011 h 6858000"/>
              <a:gd name="connsiteX438" fmla="*/ 3789372 w 9740963"/>
              <a:gd name="connsiteY438" fmla="*/ 1207009 h 6858000"/>
              <a:gd name="connsiteX439" fmla="*/ 2128722 w 9740963"/>
              <a:gd name="connsiteY439" fmla="*/ 0 h 6858000"/>
              <a:gd name="connsiteX440" fmla="*/ 3662218 w 9740963"/>
              <a:gd name="connsiteY440" fmla="*/ 0 h 6858000"/>
              <a:gd name="connsiteX441" fmla="*/ 3662218 w 9740963"/>
              <a:gd name="connsiteY441" fmla="*/ 1207009 h 6858000"/>
              <a:gd name="connsiteX442" fmla="*/ 3662218 w 9740963"/>
              <a:gd name="connsiteY442" fmla="*/ 1207011 h 6858000"/>
              <a:gd name="connsiteX443" fmla="*/ 3526026 w 9740963"/>
              <a:gd name="connsiteY443" fmla="*/ 1343201 h 6858000"/>
              <a:gd name="connsiteX444" fmla="*/ 3473015 w 9740963"/>
              <a:gd name="connsiteY444" fmla="*/ 1332498 h 6858000"/>
              <a:gd name="connsiteX445" fmla="*/ 3436814 w 9740963"/>
              <a:gd name="connsiteY445" fmla="*/ 1308091 h 6858000"/>
              <a:gd name="connsiteX446" fmla="*/ 1244667 w 9740963"/>
              <a:gd name="connsiteY446" fmla="*/ 0 h 6858000"/>
              <a:gd name="connsiteX447" fmla="*/ 1946188 w 9740963"/>
              <a:gd name="connsiteY447" fmla="*/ 0 h 6858000"/>
              <a:gd name="connsiteX448" fmla="*/ 3050724 w 9740963"/>
              <a:gd name="connsiteY448" fmla="*/ 1104539 h 6858000"/>
              <a:gd name="connsiteX449" fmla="*/ 3050726 w 9740963"/>
              <a:gd name="connsiteY449" fmla="*/ 1104541 h 6858000"/>
              <a:gd name="connsiteX450" fmla="*/ 3070675 w 9740963"/>
              <a:gd name="connsiteY450" fmla="*/ 1124490 h 6858000"/>
              <a:gd name="connsiteX451" fmla="*/ 3091828 w 9740963"/>
              <a:gd name="connsiteY451" fmla="*/ 1155864 h 6858000"/>
              <a:gd name="connsiteX452" fmla="*/ 3102530 w 9740963"/>
              <a:gd name="connsiteY452" fmla="*/ 1208876 h 6858000"/>
              <a:gd name="connsiteX453" fmla="*/ 3019351 w 9740963"/>
              <a:gd name="connsiteY453" fmla="*/ 1334363 h 6858000"/>
              <a:gd name="connsiteX454" fmla="*/ 2975584 w 9740963"/>
              <a:gd name="connsiteY454" fmla="*/ 1343200 h 6858000"/>
              <a:gd name="connsiteX455" fmla="*/ 2957097 w 9740963"/>
              <a:gd name="connsiteY455" fmla="*/ 1343200 h 6858000"/>
              <a:gd name="connsiteX456" fmla="*/ 2957097 w 9740963"/>
              <a:gd name="connsiteY456" fmla="*/ 1343201 h 6858000"/>
              <a:gd name="connsiteX457" fmla="*/ 1388238 w 9740963"/>
              <a:gd name="connsiteY457" fmla="*/ 1343201 h 6858000"/>
              <a:gd name="connsiteX458" fmla="*/ 1369751 w 9740963"/>
              <a:gd name="connsiteY458" fmla="*/ 1343200 h 6858000"/>
              <a:gd name="connsiteX459" fmla="*/ 1325983 w 9740963"/>
              <a:gd name="connsiteY459" fmla="*/ 1334363 h 6858000"/>
              <a:gd name="connsiteX460" fmla="*/ 1253507 w 9740963"/>
              <a:gd name="connsiteY460" fmla="*/ 1261887 h 6858000"/>
              <a:gd name="connsiteX461" fmla="*/ 1244670 w 9740963"/>
              <a:gd name="connsiteY461" fmla="*/ 1218115 h 6858000"/>
              <a:gd name="connsiteX462" fmla="*/ 1244670 w 9740963"/>
              <a:gd name="connsiteY462" fmla="*/ 1199636 h 6858000"/>
              <a:gd name="connsiteX463" fmla="*/ 1244667 w 9740963"/>
              <a:gd name="connsiteY463" fmla="*/ 1199637 h 6858000"/>
              <a:gd name="connsiteX464" fmla="*/ 13126 w 9740963"/>
              <a:gd name="connsiteY464" fmla="*/ 0 h 6858000"/>
              <a:gd name="connsiteX465" fmla="*/ 1128917 w 9740963"/>
              <a:gd name="connsiteY465" fmla="*/ 0 h 6858000"/>
              <a:gd name="connsiteX466" fmla="*/ 1128917 w 9740963"/>
              <a:gd name="connsiteY466" fmla="*/ 783502 h 6858000"/>
              <a:gd name="connsiteX467" fmla="*/ 1128917 w 9740963"/>
              <a:gd name="connsiteY467" fmla="*/ 801988 h 6858000"/>
              <a:gd name="connsiteX468" fmla="*/ 1120079 w 9740963"/>
              <a:gd name="connsiteY468" fmla="*/ 845757 h 6858000"/>
              <a:gd name="connsiteX469" fmla="*/ 994592 w 9740963"/>
              <a:gd name="connsiteY469" fmla="*/ 928936 h 6858000"/>
              <a:gd name="connsiteX470" fmla="*/ 941580 w 9740963"/>
              <a:gd name="connsiteY470" fmla="*/ 918233 h 6858000"/>
              <a:gd name="connsiteX471" fmla="*/ 910206 w 9740963"/>
              <a:gd name="connsiteY471" fmla="*/ 897080 h 6858000"/>
              <a:gd name="connsiteX472" fmla="*/ 890257 w 9740963"/>
              <a:gd name="connsiteY472" fmla="*/ 877131 h 6858000"/>
              <a:gd name="connsiteX473" fmla="*/ 890255 w 9740963"/>
              <a:gd name="connsiteY473" fmla="*/ 87712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Lst>
            <a:rect l="l" t="t" r="r" b="b"/>
            <a:pathLst>
              <a:path w="9740963" h="6858000">
                <a:moveTo>
                  <a:pt x="981316" y="5930787"/>
                </a:moveTo>
                <a:cubicBezTo>
                  <a:pt x="1056532" y="5930787"/>
                  <a:pt x="1117507" y="5991762"/>
                  <a:pt x="1117507" y="6066978"/>
                </a:cubicBezTo>
                <a:lnTo>
                  <a:pt x="1117507" y="6066979"/>
                </a:lnTo>
                <a:lnTo>
                  <a:pt x="1117507" y="6858000"/>
                </a:lnTo>
                <a:lnTo>
                  <a:pt x="0" y="6858000"/>
                </a:lnTo>
                <a:lnTo>
                  <a:pt x="892104" y="5965897"/>
                </a:lnTo>
                <a:lnTo>
                  <a:pt x="928305" y="5941490"/>
                </a:lnTo>
                <a:cubicBezTo>
                  <a:pt x="944598" y="5934598"/>
                  <a:pt x="962512" y="5930787"/>
                  <a:pt x="981316" y="5930787"/>
                </a:cubicBezTo>
                <a:close/>
                <a:moveTo>
                  <a:pt x="9583907" y="5514803"/>
                </a:moveTo>
                <a:lnTo>
                  <a:pt x="9740963" y="5514803"/>
                </a:lnTo>
                <a:lnTo>
                  <a:pt x="9740963" y="6004147"/>
                </a:lnTo>
                <a:lnTo>
                  <a:pt x="9490281" y="5753466"/>
                </a:lnTo>
                <a:cubicBezTo>
                  <a:pt x="9490281" y="5753465"/>
                  <a:pt x="9490279" y="5753465"/>
                  <a:pt x="9490279" y="5753464"/>
                </a:cubicBezTo>
                <a:lnTo>
                  <a:pt x="9470329" y="5733515"/>
                </a:lnTo>
                <a:lnTo>
                  <a:pt x="9449177" y="5702140"/>
                </a:lnTo>
                <a:cubicBezTo>
                  <a:pt x="9442285" y="5685846"/>
                  <a:pt x="9438473" y="5667933"/>
                  <a:pt x="9438473" y="5649129"/>
                </a:cubicBezTo>
                <a:cubicBezTo>
                  <a:pt x="9438473" y="5592716"/>
                  <a:pt x="9472773" y="5544315"/>
                  <a:pt x="9521653" y="5523641"/>
                </a:cubicBezTo>
                <a:lnTo>
                  <a:pt x="9565421" y="5514804"/>
                </a:lnTo>
                <a:lnTo>
                  <a:pt x="9583907" y="5514804"/>
                </a:lnTo>
                <a:close/>
                <a:moveTo>
                  <a:pt x="9014977" y="5514803"/>
                </a:moveTo>
                <a:cubicBezTo>
                  <a:pt x="9033781" y="5514803"/>
                  <a:pt x="9051695" y="5518614"/>
                  <a:pt x="9067989" y="5525506"/>
                </a:cubicBezTo>
                <a:lnTo>
                  <a:pt x="9104189" y="5549913"/>
                </a:lnTo>
                <a:lnTo>
                  <a:pt x="9740963" y="6186687"/>
                </a:lnTo>
                <a:lnTo>
                  <a:pt x="9740963" y="6858000"/>
                </a:lnTo>
                <a:lnTo>
                  <a:pt x="8878787" y="6858000"/>
                </a:lnTo>
                <a:lnTo>
                  <a:pt x="8878787" y="5650995"/>
                </a:lnTo>
                <a:lnTo>
                  <a:pt x="8878787" y="5650994"/>
                </a:lnTo>
                <a:cubicBezTo>
                  <a:pt x="8878787" y="5575778"/>
                  <a:pt x="8939761" y="5514803"/>
                  <a:pt x="9014977" y="5514803"/>
                </a:cubicBezTo>
                <a:close/>
                <a:moveTo>
                  <a:pt x="8615441" y="5514803"/>
                </a:moveTo>
                <a:cubicBezTo>
                  <a:pt x="8690657" y="5514803"/>
                  <a:pt x="8751631" y="5575778"/>
                  <a:pt x="8751631" y="5650994"/>
                </a:cubicBezTo>
                <a:lnTo>
                  <a:pt x="8751631" y="5650995"/>
                </a:lnTo>
                <a:lnTo>
                  <a:pt x="8751631" y="6858000"/>
                </a:lnTo>
                <a:lnTo>
                  <a:pt x="7218142" y="6858000"/>
                </a:lnTo>
                <a:lnTo>
                  <a:pt x="8526229" y="5549913"/>
                </a:lnTo>
                <a:lnTo>
                  <a:pt x="8562429" y="5525506"/>
                </a:lnTo>
                <a:cubicBezTo>
                  <a:pt x="8578723" y="5518614"/>
                  <a:pt x="8596637" y="5514803"/>
                  <a:pt x="8615441" y="5514803"/>
                </a:cubicBezTo>
                <a:close/>
                <a:moveTo>
                  <a:pt x="6477647" y="5514803"/>
                </a:moveTo>
                <a:lnTo>
                  <a:pt x="8046511" y="5514803"/>
                </a:lnTo>
                <a:lnTo>
                  <a:pt x="8046511" y="5514804"/>
                </a:lnTo>
                <a:lnTo>
                  <a:pt x="8064997" y="5514804"/>
                </a:lnTo>
                <a:lnTo>
                  <a:pt x="8108765" y="5523641"/>
                </a:lnTo>
                <a:cubicBezTo>
                  <a:pt x="8157647" y="5544315"/>
                  <a:pt x="8191945" y="5592716"/>
                  <a:pt x="8191945" y="5649129"/>
                </a:cubicBezTo>
                <a:cubicBezTo>
                  <a:pt x="8191945" y="5667933"/>
                  <a:pt x="8188133" y="5685846"/>
                  <a:pt x="8181241" y="5702140"/>
                </a:cubicBezTo>
                <a:lnTo>
                  <a:pt x="8160089" y="5733515"/>
                </a:lnTo>
                <a:lnTo>
                  <a:pt x="8140139" y="5753464"/>
                </a:lnTo>
                <a:cubicBezTo>
                  <a:pt x="8140139" y="5753465"/>
                  <a:pt x="8140139" y="5753465"/>
                  <a:pt x="8140137" y="5753466"/>
                </a:cubicBezTo>
                <a:lnTo>
                  <a:pt x="7035602" y="6858000"/>
                </a:lnTo>
                <a:lnTo>
                  <a:pt x="6334079" y="6858000"/>
                </a:lnTo>
                <a:lnTo>
                  <a:pt x="6334079" y="5658368"/>
                </a:lnTo>
                <a:lnTo>
                  <a:pt x="6334079" y="5658367"/>
                </a:lnTo>
                <a:lnTo>
                  <a:pt x="6334079" y="5639889"/>
                </a:lnTo>
                <a:lnTo>
                  <a:pt x="6342917" y="5596117"/>
                </a:lnTo>
                <a:cubicBezTo>
                  <a:pt x="6356699" y="5563529"/>
                  <a:pt x="6382805" y="5537423"/>
                  <a:pt x="6415393" y="5523641"/>
                </a:cubicBezTo>
                <a:lnTo>
                  <a:pt x="6459161" y="5514804"/>
                </a:lnTo>
                <a:close/>
                <a:moveTo>
                  <a:pt x="4494492" y="5514803"/>
                </a:moveTo>
                <a:lnTo>
                  <a:pt x="6063355" y="5514803"/>
                </a:lnTo>
                <a:lnTo>
                  <a:pt x="6081841" y="5514804"/>
                </a:lnTo>
                <a:lnTo>
                  <a:pt x="6125609" y="5523641"/>
                </a:lnTo>
                <a:cubicBezTo>
                  <a:pt x="6158197" y="5537423"/>
                  <a:pt x="6184303" y="5563529"/>
                  <a:pt x="6198085" y="5596117"/>
                </a:cubicBezTo>
                <a:lnTo>
                  <a:pt x="6206923" y="5639889"/>
                </a:lnTo>
                <a:lnTo>
                  <a:pt x="6206923" y="5658367"/>
                </a:lnTo>
                <a:lnTo>
                  <a:pt x="6206923" y="5658368"/>
                </a:lnTo>
                <a:lnTo>
                  <a:pt x="6206923" y="6858000"/>
                </a:lnTo>
                <a:lnTo>
                  <a:pt x="5505401" y="6858000"/>
                </a:lnTo>
                <a:lnTo>
                  <a:pt x="4400866" y="5753466"/>
                </a:lnTo>
                <a:cubicBezTo>
                  <a:pt x="4400864" y="5753465"/>
                  <a:pt x="4400864" y="5753465"/>
                  <a:pt x="4400863" y="5753464"/>
                </a:cubicBezTo>
                <a:lnTo>
                  <a:pt x="4380913" y="5733515"/>
                </a:lnTo>
                <a:lnTo>
                  <a:pt x="4359762" y="5702140"/>
                </a:lnTo>
                <a:cubicBezTo>
                  <a:pt x="4352869" y="5685846"/>
                  <a:pt x="4349058" y="5667933"/>
                  <a:pt x="4349058" y="5649129"/>
                </a:cubicBezTo>
                <a:cubicBezTo>
                  <a:pt x="4349058" y="5592716"/>
                  <a:pt x="4383357" y="5544315"/>
                  <a:pt x="4432238" y="5523641"/>
                </a:cubicBezTo>
                <a:lnTo>
                  <a:pt x="4476005" y="5514804"/>
                </a:lnTo>
                <a:lnTo>
                  <a:pt x="4494492" y="5514804"/>
                </a:lnTo>
                <a:close/>
                <a:moveTo>
                  <a:pt x="3925562" y="5514803"/>
                </a:moveTo>
                <a:cubicBezTo>
                  <a:pt x="3944366" y="5514803"/>
                  <a:pt x="3962279" y="5518614"/>
                  <a:pt x="3978574" y="5525506"/>
                </a:cubicBezTo>
                <a:lnTo>
                  <a:pt x="4014774" y="5549913"/>
                </a:lnTo>
                <a:lnTo>
                  <a:pt x="5322861" y="6858000"/>
                </a:lnTo>
                <a:lnTo>
                  <a:pt x="3789371" y="6858000"/>
                </a:lnTo>
                <a:lnTo>
                  <a:pt x="3789371" y="5650995"/>
                </a:lnTo>
                <a:lnTo>
                  <a:pt x="3789371" y="5650994"/>
                </a:lnTo>
                <a:cubicBezTo>
                  <a:pt x="3789371" y="5575778"/>
                  <a:pt x="3850345" y="5514803"/>
                  <a:pt x="3925562" y="5514803"/>
                </a:cubicBezTo>
                <a:close/>
                <a:moveTo>
                  <a:pt x="3526025" y="5514803"/>
                </a:moveTo>
                <a:cubicBezTo>
                  <a:pt x="3601241" y="5514803"/>
                  <a:pt x="3662216" y="5575778"/>
                  <a:pt x="3662216" y="5650994"/>
                </a:cubicBezTo>
                <a:lnTo>
                  <a:pt x="3662216" y="5650995"/>
                </a:lnTo>
                <a:lnTo>
                  <a:pt x="3662216" y="6858000"/>
                </a:lnTo>
                <a:lnTo>
                  <a:pt x="2128725" y="6858000"/>
                </a:lnTo>
                <a:lnTo>
                  <a:pt x="3436813" y="5549913"/>
                </a:lnTo>
                <a:lnTo>
                  <a:pt x="3473013" y="5525506"/>
                </a:lnTo>
                <a:cubicBezTo>
                  <a:pt x="3489307" y="5518614"/>
                  <a:pt x="3507221" y="5514803"/>
                  <a:pt x="3526025" y="5514803"/>
                </a:cubicBezTo>
                <a:close/>
                <a:moveTo>
                  <a:pt x="1388232" y="5514803"/>
                </a:moveTo>
                <a:lnTo>
                  <a:pt x="2957095" y="5514803"/>
                </a:lnTo>
                <a:lnTo>
                  <a:pt x="2957095" y="5514804"/>
                </a:lnTo>
                <a:lnTo>
                  <a:pt x="2975581" y="5514804"/>
                </a:lnTo>
                <a:lnTo>
                  <a:pt x="3019349" y="5523641"/>
                </a:lnTo>
                <a:cubicBezTo>
                  <a:pt x="3068230" y="5544315"/>
                  <a:pt x="3102529" y="5592716"/>
                  <a:pt x="3102529" y="5649129"/>
                </a:cubicBezTo>
                <a:cubicBezTo>
                  <a:pt x="3102529" y="5667933"/>
                  <a:pt x="3098718" y="5685846"/>
                  <a:pt x="3091826" y="5702140"/>
                </a:cubicBezTo>
                <a:lnTo>
                  <a:pt x="3070674" y="5733515"/>
                </a:lnTo>
                <a:lnTo>
                  <a:pt x="3050724" y="5753464"/>
                </a:lnTo>
                <a:cubicBezTo>
                  <a:pt x="3050723" y="5753465"/>
                  <a:pt x="3050722" y="5753465"/>
                  <a:pt x="3050722" y="5753466"/>
                </a:cubicBezTo>
                <a:lnTo>
                  <a:pt x="1946187" y="6858000"/>
                </a:lnTo>
                <a:lnTo>
                  <a:pt x="1244663" y="6858000"/>
                </a:lnTo>
                <a:lnTo>
                  <a:pt x="1244663" y="5658367"/>
                </a:lnTo>
                <a:lnTo>
                  <a:pt x="1244664" y="5658368"/>
                </a:lnTo>
                <a:lnTo>
                  <a:pt x="1244664" y="5639889"/>
                </a:lnTo>
                <a:lnTo>
                  <a:pt x="1253501" y="5596117"/>
                </a:lnTo>
                <a:cubicBezTo>
                  <a:pt x="1267285" y="5563529"/>
                  <a:pt x="1293391" y="5537423"/>
                  <a:pt x="1325978" y="5523641"/>
                </a:cubicBezTo>
                <a:lnTo>
                  <a:pt x="1369746" y="5514804"/>
                </a:lnTo>
                <a:close/>
                <a:moveTo>
                  <a:pt x="9583907" y="3506125"/>
                </a:moveTo>
                <a:lnTo>
                  <a:pt x="9740963" y="3506125"/>
                </a:lnTo>
                <a:lnTo>
                  <a:pt x="9740963" y="3995469"/>
                </a:lnTo>
                <a:lnTo>
                  <a:pt x="9490281" y="3744788"/>
                </a:lnTo>
                <a:cubicBezTo>
                  <a:pt x="9490281" y="3744787"/>
                  <a:pt x="9490279" y="3744787"/>
                  <a:pt x="9490279" y="3744786"/>
                </a:cubicBezTo>
                <a:lnTo>
                  <a:pt x="9470329" y="3724837"/>
                </a:lnTo>
                <a:lnTo>
                  <a:pt x="9449177" y="3693462"/>
                </a:lnTo>
                <a:cubicBezTo>
                  <a:pt x="9442285" y="3677168"/>
                  <a:pt x="9438473" y="3659255"/>
                  <a:pt x="9438473" y="3640451"/>
                </a:cubicBezTo>
                <a:cubicBezTo>
                  <a:pt x="9438473" y="3584038"/>
                  <a:pt x="9472773" y="3535637"/>
                  <a:pt x="9521653" y="3514963"/>
                </a:cubicBezTo>
                <a:lnTo>
                  <a:pt x="9565421" y="3506126"/>
                </a:lnTo>
                <a:lnTo>
                  <a:pt x="9583907" y="3506126"/>
                </a:lnTo>
                <a:close/>
                <a:moveTo>
                  <a:pt x="9014977" y="3506125"/>
                </a:moveTo>
                <a:cubicBezTo>
                  <a:pt x="9033781" y="3506125"/>
                  <a:pt x="9051695" y="3509936"/>
                  <a:pt x="9067989" y="3516828"/>
                </a:cubicBezTo>
                <a:lnTo>
                  <a:pt x="9104189" y="3541235"/>
                </a:lnTo>
                <a:lnTo>
                  <a:pt x="9740963" y="4178008"/>
                </a:lnTo>
                <a:lnTo>
                  <a:pt x="9740963" y="5360553"/>
                </a:lnTo>
                <a:lnTo>
                  <a:pt x="9022355" y="5360553"/>
                </a:lnTo>
                <a:lnTo>
                  <a:pt x="9003869" y="5360552"/>
                </a:lnTo>
                <a:lnTo>
                  <a:pt x="8960101" y="5351716"/>
                </a:lnTo>
                <a:cubicBezTo>
                  <a:pt x="8927513" y="5337933"/>
                  <a:pt x="8901407" y="5311827"/>
                  <a:pt x="8887625" y="5279239"/>
                </a:cubicBezTo>
                <a:lnTo>
                  <a:pt x="8878787" y="5235467"/>
                </a:lnTo>
                <a:lnTo>
                  <a:pt x="8878787" y="5216989"/>
                </a:lnTo>
                <a:lnTo>
                  <a:pt x="8878787" y="5216988"/>
                </a:lnTo>
                <a:lnTo>
                  <a:pt x="8878787" y="3642317"/>
                </a:lnTo>
                <a:lnTo>
                  <a:pt x="8878787" y="3642316"/>
                </a:lnTo>
                <a:cubicBezTo>
                  <a:pt x="8878787" y="3567100"/>
                  <a:pt x="8939761" y="3506125"/>
                  <a:pt x="9014977" y="3506125"/>
                </a:cubicBezTo>
                <a:close/>
                <a:moveTo>
                  <a:pt x="8615441" y="3506125"/>
                </a:moveTo>
                <a:cubicBezTo>
                  <a:pt x="8690657" y="3506125"/>
                  <a:pt x="8751631" y="3567100"/>
                  <a:pt x="8751631" y="3642316"/>
                </a:cubicBezTo>
                <a:lnTo>
                  <a:pt x="8751631" y="3642317"/>
                </a:lnTo>
                <a:lnTo>
                  <a:pt x="8751631" y="5216988"/>
                </a:lnTo>
                <a:lnTo>
                  <a:pt x="8751631" y="5216989"/>
                </a:lnTo>
                <a:lnTo>
                  <a:pt x="8751631" y="5235467"/>
                </a:lnTo>
                <a:lnTo>
                  <a:pt x="8742793" y="5279239"/>
                </a:lnTo>
                <a:cubicBezTo>
                  <a:pt x="8729011" y="5311827"/>
                  <a:pt x="8702905" y="5337933"/>
                  <a:pt x="8670317" y="5351716"/>
                </a:cubicBezTo>
                <a:lnTo>
                  <a:pt x="8626549" y="5360552"/>
                </a:lnTo>
                <a:lnTo>
                  <a:pt x="8608063" y="5360553"/>
                </a:lnTo>
                <a:lnTo>
                  <a:pt x="7039199" y="5360553"/>
                </a:lnTo>
                <a:lnTo>
                  <a:pt x="7039199" y="5360552"/>
                </a:lnTo>
                <a:lnTo>
                  <a:pt x="7020713" y="5360552"/>
                </a:lnTo>
                <a:lnTo>
                  <a:pt x="6976945" y="5351716"/>
                </a:lnTo>
                <a:cubicBezTo>
                  <a:pt x="6928065" y="5331042"/>
                  <a:pt x="6893765" y="5282640"/>
                  <a:pt x="6893765" y="5226228"/>
                </a:cubicBezTo>
                <a:cubicBezTo>
                  <a:pt x="6893765" y="5207424"/>
                  <a:pt x="6897577" y="5189510"/>
                  <a:pt x="6904469" y="5173216"/>
                </a:cubicBezTo>
                <a:lnTo>
                  <a:pt x="6925621" y="5141842"/>
                </a:lnTo>
                <a:lnTo>
                  <a:pt x="6945571" y="5121892"/>
                </a:lnTo>
                <a:cubicBezTo>
                  <a:pt x="6945571" y="5121892"/>
                  <a:pt x="6945573" y="5121892"/>
                  <a:pt x="6945573" y="5121891"/>
                </a:cubicBezTo>
                <a:lnTo>
                  <a:pt x="8526229" y="3541235"/>
                </a:lnTo>
                <a:lnTo>
                  <a:pt x="8562429" y="3516828"/>
                </a:lnTo>
                <a:cubicBezTo>
                  <a:pt x="8578723" y="3509936"/>
                  <a:pt x="8596637" y="3506125"/>
                  <a:pt x="8615441" y="3506125"/>
                </a:cubicBezTo>
                <a:close/>
                <a:moveTo>
                  <a:pt x="6477647" y="3506125"/>
                </a:moveTo>
                <a:lnTo>
                  <a:pt x="8046511" y="3506125"/>
                </a:lnTo>
                <a:lnTo>
                  <a:pt x="8046511" y="3506126"/>
                </a:lnTo>
                <a:lnTo>
                  <a:pt x="8064997" y="3506126"/>
                </a:lnTo>
                <a:lnTo>
                  <a:pt x="8108765" y="3514963"/>
                </a:lnTo>
                <a:cubicBezTo>
                  <a:pt x="8157647" y="3535637"/>
                  <a:pt x="8191945" y="3584038"/>
                  <a:pt x="8191945" y="3640451"/>
                </a:cubicBezTo>
                <a:cubicBezTo>
                  <a:pt x="8191945" y="3659255"/>
                  <a:pt x="8188133" y="3677168"/>
                  <a:pt x="8181241" y="3693462"/>
                </a:cubicBezTo>
                <a:lnTo>
                  <a:pt x="8160089" y="3724837"/>
                </a:lnTo>
                <a:lnTo>
                  <a:pt x="8140139" y="3744786"/>
                </a:lnTo>
                <a:cubicBezTo>
                  <a:pt x="8140139" y="3744787"/>
                  <a:pt x="8140139" y="3744787"/>
                  <a:pt x="8140137" y="3744788"/>
                </a:cubicBezTo>
                <a:lnTo>
                  <a:pt x="6559481" y="5325443"/>
                </a:lnTo>
                <a:lnTo>
                  <a:pt x="6523281" y="5349850"/>
                </a:lnTo>
                <a:cubicBezTo>
                  <a:pt x="6506987" y="5356742"/>
                  <a:pt x="6489073" y="5360553"/>
                  <a:pt x="6470269" y="5360553"/>
                </a:cubicBezTo>
                <a:cubicBezTo>
                  <a:pt x="6395053" y="5360553"/>
                  <a:pt x="6334079" y="5299579"/>
                  <a:pt x="6334079" y="5224362"/>
                </a:cubicBezTo>
                <a:lnTo>
                  <a:pt x="6334079" y="3649690"/>
                </a:lnTo>
                <a:lnTo>
                  <a:pt x="6334079" y="3649689"/>
                </a:lnTo>
                <a:lnTo>
                  <a:pt x="6334079" y="3631211"/>
                </a:lnTo>
                <a:lnTo>
                  <a:pt x="6342917" y="3587439"/>
                </a:lnTo>
                <a:cubicBezTo>
                  <a:pt x="6356699" y="3554851"/>
                  <a:pt x="6382805" y="3528745"/>
                  <a:pt x="6415393" y="3514963"/>
                </a:cubicBezTo>
                <a:lnTo>
                  <a:pt x="6459161" y="3506126"/>
                </a:lnTo>
                <a:close/>
                <a:moveTo>
                  <a:pt x="4494492" y="3506125"/>
                </a:moveTo>
                <a:lnTo>
                  <a:pt x="6063355" y="3506125"/>
                </a:lnTo>
                <a:lnTo>
                  <a:pt x="6081841" y="3506126"/>
                </a:lnTo>
                <a:lnTo>
                  <a:pt x="6125609" y="3514963"/>
                </a:lnTo>
                <a:cubicBezTo>
                  <a:pt x="6158197" y="3528745"/>
                  <a:pt x="6184303" y="3554851"/>
                  <a:pt x="6198085" y="3587439"/>
                </a:cubicBezTo>
                <a:lnTo>
                  <a:pt x="6206923" y="3631211"/>
                </a:lnTo>
                <a:lnTo>
                  <a:pt x="6206923" y="3649689"/>
                </a:lnTo>
                <a:lnTo>
                  <a:pt x="6206923" y="3649690"/>
                </a:lnTo>
                <a:lnTo>
                  <a:pt x="6206923" y="5224362"/>
                </a:lnTo>
                <a:cubicBezTo>
                  <a:pt x="6206923" y="5299579"/>
                  <a:pt x="6145949" y="5360553"/>
                  <a:pt x="6070733" y="5360553"/>
                </a:cubicBezTo>
                <a:cubicBezTo>
                  <a:pt x="6051929" y="5360553"/>
                  <a:pt x="6034015" y="5356742"/>
                  <a:pt x="6017721" y="5349850"/>
                </a:cubicBezTo>
                <a:lnTo>
                  <a:pt x="5981521" y="5325443"/>
                </a:lnTo>
                <a:lnTo>
                  <a:pt x="4400866" y="3744788"/>
                </a:lnTo>
                <a:cubicBezTo>
                  <a:pt x="4400864" y="3744787"/>
                  <a:pt x="4400864" y="3744787"/>
                  <a:pt x="4400864" y="3744786"/>
                </a:cubicBezTo>
                <a:lnTo>
                  <a:pt x="4380913" y="3724837"/>
                </a:lnTo>
                <a:lnTo>
                  <a:pt x="4359762" y="3693462"/>
                </a:lnTo>
                <a:cubicBezTo>
                  <a:pt x="4352870" y="3677168"/>
                  <a:pt x="4349058" y="3659255"/>
                  <a:pt x="4349058" y="3640451"/>
                </a:cubicBezTo>
                <a:cubicBezTo>
                  <a:pt x="4349058" y="3584038"/>
                  <a:pt x="4383357" y="3535637"/>
                  <a:pt x="4432239" y="3514963"/>
                </a:cubicBezTo>
                <a:lnTo>
                  <a:pt x="4476005" y="3506126"/>
                </a:lnTo>
                <a:lnTo>
                  <a:pt x="4494492" y="3506126"/>
                </a:lnTo>
                <a:close/>
                <a:moveTo>
                  <a:pt x="3925563" y="3506125"/>
                </a:moveTo>
                <a:cubicBezTo>
                  <a:pt x="3944366" y="3506125"/>
                  <a:pt x="3962280" y="3509936"/>
                  <a:pt x="3978574" y="3516828"/>
                </a:cubicBezTo>
                <a:lnTo>
                  <a:pt x="4014774" y="3541235"/>
                </a:lnTo>
                <a:lnTo>
                  <a:pt x="5595430" y="5121891"/>
                </a:lnTo>
                <a:cubicBezTo>
                  <a:pt x="5595430" y="5121892"/>
                  <a:pt x="5595431" y="5121892"/>
                  <a:pt x="5595432" y="5121892"/>
                </a:cubicBezTo>
                <a:lnTo>
                  <a:pt x="5615381" y="5141842"/>
                </a:lnTo>
                <a:lnTo>
                  <a:pt x="5636534" y="5173216"/>
                </a:lnTo>
                <a:cubicBezTo>
                  <a:pt x="5643426" y="5189510"/>
                  <a:pt x="5647237" y="5207424"/>
                  <a:pt x="5647237" y="5226228"/>
                </a:cubicBezTo>
                <a:cubicBezTo>
                  <a:pt x="5647237" y="5282640"/>
                  <a:pt x="5612938" y="5331042"/>
                  <a:pt x="5564057" y="5351716"/>
                </a:cubicBezTo>
                <a:lnTo>
                  <a:pt x="5520289" y="5360552"/>
                </a:lnTo>
                <a:lnTo>
                  <a:pt x="5501803" y="5360552"/>
                </a:lnTo>
                <a:lnTo>
                  <a:pt x="5501803" y="5360553"/>
                </a:lnTo>
                <a:lnTo>
                  <a:pt x="3932940" y="5360553"/>
                </a:lnTo>
                <a:lnTo>
                  <a:pt x="3914454" y="5360552"/>
                </a:lnTo>
                <a:lnTo>
                  <a:pt x="3870687" y="5351716"/>
                </a:lnTo>
                <a:cubicBezTo>
                  <a:pt x="3838098" y="5337933"/>
                  <a:pt x="3811993" y="5311827"/>
                  <a:pt x="3798210" y="5279239"/>
                </a:cubicBezTo>
                <a:lnTo>
                  <a:pt x="3789372" y="5235467"/>
                </a:lnTo>
                <a:lnTo>
                  <a:pt x="3789372" y="5216988"/>
                </a:lnTo>
                <a:lnTo>
                  <a:pt x="3789371" y="5216989"/>
                </a:lnTo>
                <a:lnTo>
                  <a:pt x="3789371" y="3642317"/>
                </a:lnTo>
                <a:lnTo>
                  <a:pt x="3789371" y="3642316"/>
                </a:lnTo>
                <a:cubicBezTo>
                  <a:pt x="3789371" y="3567100"/>
                  <a:pt x="3850346" y="3506125"/>
                  <a:pt x="3925563" y="3506125"/>
                </a:cubicBezTo>
                <a:close/>
                <a:moveTo>
                  <a:pt x="3526024" y="3506125"/>
                </a:moveTo>
                <a:cubicBezTo>
                  <a:pt x="3601241" y="3506125"/>
                  <a:pt x="3662215" y="3567100"/>
                  <a:pt x="3662215" y="3642316"/>
                </a:cubicBezTo>
                <a:lnTo>
                  <a:pt x="3662215" y="3642317"/>
                </a:lnTo>
                <a:lnTo>
                  <a:pt x="3662215" y="5216988"/>
                </a:lnTo>
                <a:lnTo>
                  <a:pt x="3662215" y="5216989"/>
                </a:lnTo>
                <a:lnTo>
                  <a:pt x="3662215" y="5235467"/>
                </a:lnTo>
                <a:lnTo>
                  <a:pt x="3653377" y="5279239"/>
                </a:lnTo>
                <a:cubicBezTo>
                  <a:pt x="3639594" y="5311827"/>
                  <a:pt x="3613489" y="5337933"/>
                  <a:pt x="3580900" y="5351716"/>
                </a:cubicBezTo>
                <a:lnTo>
                  <a:pt x="3537132" y="5360552"/>
                </a:lnTo>
                <a:lnTo>
                  <a:pt x="3518647" y="5360553"/>
                </a:lnTo>
                <a:lnTo>
                  <a:pt x="1949784" y="5360553"/>
                </a:lnTo>
                <a:lnTo>
                  <a:pt x="1949784" y="5360552"/>
                </a:lnTo>
                <a:lnTo>
                  <a:pt x="1931296" y="5360552"/>
                </a:lnTo>
                <a:lnTo>
                  <a:pt x="1887528" y="5351716"/>
                </a:lnTo>
                <a:cubicBezTo>
                  <a:pt x="1838647" y="5331042"/>
                  <a:pt x="1804350" y="5282640"/>
                  <a:pt x="1804350" y="5226228"/>
                </a:cubicBezTo>
                <a:cubicBezTo>
                  <a:pt x="1804350" y="5207424"/>
                  <a:pt x="1808160" y="5189510"/>
                  <a:pt x="1815052" y="5173216"/>
                </a:cubicBezTo>
                <a:lnTo>
                  <a:pt x="1836205" y="5141842"/>
                </a:lnTo>
                <a:lnTo>
                  <a:pt x="1856154" y="5121892"/>
                </a:lnTo>
                <a:cubicBezTo>
                  <a:pt x="1856156" y="5121892"/>
                  <a:pt x="1856156" y="5121892"/>
                  <a:pt x="1856156" y="5121891"/>
                </a:cubicBezTo>
                <a:lnTo>
                  <a:pt x="3436812" y="3541235"/>
                </a:lnTo>
                <a:lnTo>
                  <a:pt x="3473013" y="3516828"/>
                </a:lnTo>
                <a:cubicBezTo>
                  <a:pt x="3489307" y="3509936"/>
                  <a:pt x="3507220" y="3506125"/>
                  <a:pt x="3526024" y="3506125"/>
                </a:cubicBezTo>
                <a:close/>
                <a:moveTo>
                  <a:pt x="9740963" y="2862533"/>
                </a:moveTo>
                <a:lnTo>
                  <a:pt x="9740963" y="3351876"/>
                </a:lnTo>
                <a:lnTo>
                  <a:pt x="9583907" y="3351876"/>
                </a:lnTo>
                <a:lnTo>
                  <a:pt x="9583907" y="3351875"/>
                </a:lnTo>
                <a:lnTo>
                  <a:pt x="9565421" y="3351875"/>
                </a:lnTo>
                <a:lnTo>
                  <a:pt x="9521653" y="3343039"/>
                </a:lnTo>
                <a:cubicBezTo>
                  <a:pt x="9472773" y="3322365"/>
                  <a:pt x="9438473" y="3273963"/>
                  <a:pt x="9438473" y="3217551"/>
                </a:cubicBezTo>
                <a:cubicBezTo>
                  <a:pt x="9438473" y="3198748"/>
                  <a:pt x="9442285" y="3180834"/>
                  <a:pt x="9449177" y="3164541"/>
                </a:cubicBezTo>
                <a:lnTo>
                  <a:pt x="9470329" y="3133166"/>
                </a:lnTo>
                <a:lnTo>
                  <a:pt x="9490279" y="3113216"/>
                </a:lnTo>
                <a:cubicBezTo>
                  <a:pt x="9490279" y="3113216"/>
                  <a:pt x="9490281" y="3113216"/>
                  <a:pt x="9490281" y="3113215"/>
                </a:cubicBezTo>
                <a:close/>
                <a:moveTo>
                  <a:pt x="9022355" y="1497450"/>
                </a:moveTo>
                <a:lnTo>
                  <a:pt x="9740963" y="1497450"/>
                </a:lnTo>
                <a:lnTo>
                  <a:pt x="9740963" y="2679993"/>
                </a:lnTo>
                <a:lnTo>
                  <a:pt x="9104189" y="3316766"/>
                </a:lnTo>
                <a:lnTo>
                  <a:pt x="9067989" y="3341173"/>
                </a:lnTo>
                <a:cubicBezTo>
                  <a:pt x="9051695" y="3348066"/>
                  <a:pt x="9033781" y="3351876"/>
                  <a:pt x="9014977" y="3351876"/>
                </a:cubicBezTo>
                <a:cubicBezTo>
                  <a:pt x="8939761" y="3351876"/>
                  <a:pt x="8878787" y="3290902"/>
                  <a:pt x="8878787" y="3215686"/>
                </a:cubicBezTo>
                <a:lnTo>
                  <a:pt x="8878787" y="3215685"/>
                </a:lnTo>
                <a:lnTo>
                  <a:pt x="8878787" y="1641015"/>
                </a:lnTo>
                <a:lnTo>
                  <a:pt x="8878787" y="1641014"/>
                </a:lnTo>
                <a:lnTo>
                  <a:pt x="8878787" y="1622536"/>
                </a:lnTo>
                <a:lnTo>
                  <a:pt x="8887625" y="1578764"/>
                </a:lnTo>
                <a:cubicBezTo>
                  <a:pt x="8901407" y="1546176"/>
                  <a:pt x="8927513" y="1520070"/>
                  <a:pt x="8960101" y="1506287"/>
                </a:cubicBezTo>
                <a:lnTo>
                  <a:pt x="9003869" y="1497451"/>
                </a:lnTo>
                <a:close/>
                <a:moveTo>
                  <a:pt x="7039199" y="1497450"/>
                </a:moveTo>
                <a:lnTo>
                  <a:pt x="8608063" y="1497450"/>
                </a:lnTo>
                <a:lnTo>
                  <a:pt x="8626549" y="1497451"/>
                </a:lnTo>
                <a:lnTo>
                  <a:pt x="8670317" y="1506287"/>
                </a:lnTo>
                <a:cubicBezTo>
                  <a:pt x="8702905" y="1520070"/>
                  <a:pt x="8729011" y="1546176"/>
                  <a:pt x="8742793" y="1578764"/>
                </a:cubicBezTo>
                <a:lnTo>
                  <a:pt x="8751631" y="1622536"/>
                </a:lnTo>
                <a:lnTo>
                  <a:pt x="8751631" y="1641014"/>
                </a:lnTo>
                <a:lnTo>
                  <a:pt x="8751631" y="1641015"/>
                </a:lnTo>
                <a:lnTo>
                  <a:pt x="8751631" y="3215685"/>
                </a:lnTo>
                <a:lnTo>
                  <a:pt x="8751631" y="3215686"/>
                </a:lnTo>
                <a:cubicBezTo>
                  <a:pt x="8751631" y="3290902"/>
                  <a:pt x="8690657" y="3351876"/>
                  <a:pt x="8615441" y="3351876"/>
                </a:cubicBezTo>
                <a:cubicBezTo>
                  <a:pt x="8596637" y="3351876"/>
                  <a:pt x="8578723" y="3348066"/>
                  <a:pt x="8562429" y="3341173"/>
                </a:cubicBezTo>
                <a:lnTo>
                  <a:pt x="8526229" y="3316766"/>
                </a:lnTo>
                <a:lnTo>
                  <a:pt x="6945573" y="1736112"/>
                </a:lnTo>
                <a:cubicBezTo>
                  <a:pt x="6945573" y="1736111"/>
                  <a:pt x="6945571" y="1736111"/>
                  <a:pt x="6945571" y="1736111"/>
                </a:cubicBezTo>
                <a:lnTo>
                  <a:pt x="6925621" y="1716161"/>
                </a:lnTo>
                <a:lnTo>
                  <a:pt x="6904469" y="1684787"/>
                </a:lnTo>
                <a:cubicBezTo>
                  <a:pt x="6897577" y="1668493"/>
                  <a:pt x="6893765" y="1650579"/>
                  <a:pt x="6893765" y="1631775"/>
                </a:cubicBezTo>
                <a:cubicBezTo>
                  <a:pt x="6893765" y="1575363"/>
                  <a:pt x="6928065" y="1526961"/>
                  <a:pt x="6976945" y="1506287"/>
                </a:cubicBezTo>
                <a:lnTo>
                  <a:pt x="7020713" y="1497451"/>
                </a:lnTo>
                <a:lnTo>
                  <a:pt x="7039199" y="1497451"/>
                </a:lnTo>
                <a:close/>
                <a:moveTo>
                  <a:pt x="6470269" y="1497450"/>
                </a:moveTo>
                <a:cubicBezTo>
                  <a:pt x="6489073" y="1497450"/>
                  <a:pt x="6506987" y="1501261"/>
                  <a:pt x="6523281" y="1508153"/>
                </a:cubicBezTo>
                <a:lnTo>
                  <a:pt x="6559481" y="1532560"/>
                </a:lnTo>
                <a:lnTo>
                  <a:pt x="8140137" y="3113215"/>
                </a:lnTo>
                <a:cubicBezTo>
                  <a:pt x="8140139" y="3113216"/>
                  <a:pt x="8140139" y="3113216"/>
                  <a:pt x="8140139" y="3113216"/>
                </a:cubicBezTo>
                <a:lnTo>
                  <a:pt x="8160089" y="3133166"/>
                </a:lnTo>
                <a:lnTo>
                  <a:pt x="8181241" y="3164541"/>
                </a:lnTo>
                <a:cubicBezTo>
                  <a:pt x="8188133" y="3180834"/>
                  <a:pt x="8191945" y="3198748"/>
                  <a:pt x="8191945" y="3217551"/>
                </a:cubicBezTo>
                <a:cubicBezTo>
                  <a:pt x="8191945" y="3273963"/>
                  <a:pt x="8157647" y="3322365"/>
                  <a:pt x="8108765" y="3343039"/>
                </a:cubicBezTo>
                <a:lnTo>
                  <a:pt x="8064997" y="3351875"/>
                </a:lnTo>
                <a:lnTo>
                  <a:pt x="8046511" y="3351875"/>
                </a:lnTo>
                <a:lnTo>
                  <a:pt x="8046511" y="3351876"/>
                </a:lnTo>
                <a:lnTo>
                  <a:pt x="6477647" y="3351876"/>
                </a:lnTo>
                <a:lnTo>
                  <a:pt x="6459161" y="3351875"/>
                </a:lnTo>
                <a:lnTo>
                  <a:pt x="6415393" y="3343039"/>
                </a:lnTo>
                <a:cubicBezTo>
                  <a:pt x="6382805" y="3329256"/>
                  <a:pt x="6356699" y="3303150"/>
                  <a:pt x="6342917" y="3270562"/>
                </a:cubicBezTo>
                <a:lnTo>
                  <a:pt x="6334079" y="3226790"/>
                </a:lnTo>
                <a:lnTo>
                  <a:pt x="6334079" y="3208313"/>
                </a:lnTo>
                <a:lnTo>
                  <a:pt x="6334079" y="3208312"/>
                </a:lnTo>
                <a:lnTo>
                  <a:pt x="6334079" y="1633642"/>
                </a:lnTo>
                <a:lnTo>
                  <a:pt x="6334079" y="1633641"/>
                </a:lnTo>
                <a:cubicBezTo>
                  <a:pt x="6334079" y="1558425"/>
                  <a:pt x="6395053" y="1497450"/>
                  <a:pt x="6470269" y="1497450"/>
                </a:cubicBezTo>
                <a:close/>
                <a:moveTo>
                  <a:pt x="6070733" y="1497450"/>
                </a:moveTo>
                <a:cubicBezTo>
                  <a:pt x="6145949" y="1497450"/>
                  <a:pt x="6206923" y="1558425"/>
                  <a:pt x="6206923" y="1633641"/>
                </a:cubicBezTo>
                <a:lnTo>
                  <a:pt x="6206923" y="1633642"/>
                </a:lnTo>
                <a:lnTo>
                  <a:pt x="6206923" y="3208312"/>
                </a:lnTo>
                <a:lnTo>
                  <a:pt x="6206923" y="3208313"/>
                </a:lnTo>
                <a:lnTo>
                  <a:pt x="6206923" y="3226790"/>
                </a:lnTo>
                <a:lnTo>
                  <a:pt x="6198085" y="3270562"/>
                </a:lnTo>
                <a:cubicBezTo>
                  <a:pt x="6184303" y="3303150"/>
                  <a:pt x="6158197" y="3329256"/>
                  <a:pt x="6125609" y="3343039"/>
                </a:cubicBezTo>
                <a:lnTo>
                  <a:pt x="6081841" y="3351875"/>
                </a:lnTo>
                <a:lnTo>
                  <a:pt x="6063355" y="3351876"/>
                </a:lnTo>
                <a:lnTo>
                  <a:pt x="4494492" y="3351876"/>
                </a:lnTo>
                <a:lnTo>
                  <a:pt x="4494492" y="3351875"/>
                </a:lnTo>
                <a:lnTo>
                  <a:pt x="4476005" y="3351875"/>
                </a:lnTo>
                <a:lnTo>
                  <a:pt x="4432239" y="3343039"/>
                </a:lnTo>
                <a:cubicBezTo>
                  <a:pt x="4383357" y="3322365"/>
                  <a:pt x="4349059" y="3273963"/>
                  <a:pt x="4349059" y="3217551"/>
                </a:cubicBezTo>
                <a:cubicBezTo>
                  <a:pt x="4349059" y="3198748"/>
                  <a:pt x="4352870" y="3180834"/>
                  <a:pt x="4359762" y="3164541"/>
                </a:cubicBezTo>
                <a:lnTo>
                  <a:pt x="4380915" y="3133166"/>
                </a:lnTo>
                <a:lnTo>
                  <a:pt x="4400864" y="3113216"/>
                </a:lnTo>
                <a:cubicBezTo>
                  <a:pt x="4400864" y="3113216"/>
                  <a:pt x="4400864" y="3113216"/>
                  <a:pt x="4400867" y="3113215"/>
                </a:cubicBezTo>
                <a:lnTo>
                  <a:pt x="5981521" y="1532560"/>
                </a:lnTo>
                <a:lnTo>
                  <a:pt x="6017721" y="1508153"/>
                </a:lnTo>
                <a:cubicBezTo>
                  <a:pt x="6034015" y="1501261"/>
                  <a:pt x="6051929" y="1497450"/>
                  <a:pt x="6070733" y="1497450"/>
                </a:cubicBezTo>
                <a:close/>
                <a:moveTo>
                  <a:pt x="3932943" y="1497450"/>
                </a:moveTo>
                <a:lnTo>
                  <a:pt x="5501803" y="1497450"/>
                </a:lnTo>
                <a:lnTo>
                  <a:pt x="5501803" y="1497451"/>
                </a:lnTo>
                <a:lnTo>
                  <a:pt x="5520290" y="1497451"/>
                </a:lnTo>
                <a:lnTo>
                  <a:pt x="5564058" y="1506287"/>
                </a:lnTo>
                <a:cubicBezTo>
                  <a:pt x="5612939" y="1526961"/>
                  <a:pt x="5647237" y="1575363"/>
                  <a:pt x="5647237" y="1631775"/>
                </a:cubicBezTo>
                <a:cubicBezTo>
                  <a:pt x="5647237" y="1650579"/>
                  <a:pt x="5643426" y="1668493"/>
                  <a:pt x="5636534" y="1684787"/>
                </a:cubicBezTo>
                <a:lnTo>
                  <a:pt x="5615382" y="1716161"/>
                </a:lnTo>
                <a:lnTo>
                  <a:pt x="5595432" y="1736111"/>
                </a:lnTo>
                <a:cubicBezTo>
                  <a:pt x="5595431" y="1736111"/>
                  <a:pt x="5595431" y="1736111"/>
                  <a:pt x="5595430" y="1736112"/>
                </a:cubicBezTo>
                <a:lnTo>
                  <a:pt x="4014775" y="3316766"/>
                </a:lnTo>
                <a:lnTo>
                  <a:pt x="3978575" y="3341173"/>
                </a:lnTo>
                <a:cubicBezTo>
                  <a:pt x="3962281" y="3348066"/>
                  <a:pt x="3944366" y="3351876"/>
                  <a:pt x="3925563" y="3351876"/>
                </a:cubicBezTo>
                <a:cubicBezTo>
                  <a:pt x="3850347" y="3351876"/>
                  <a:pt x="3789371" y="3290902"/>
                  <a:pt x="3789371" y="3215686"/>
                </a:cubicBezTo>
                <a:lnTo>
                  <a:pt x="3789371" y="3215685"/>
                </a:lnTo>
                <a:lnTo>
                  <a:pt x="3789372" y="1641014"/>
                </a:lnTo>
                <a:lnTo>
                  <a:pt x="3789374" y="1641015"/>
                </a:lnTo>
                <a:lnTo>
                  <a:pt x="3789374" y="1622536"/>
                </a:lnTo>
                <a:lnTo>
                  <a:pt x="3798210" y="1578764"/>
                </a:lnTo>
                <a:cubicBezTo>
                  <a:pt x="3811994" y="1546176"/>
                  <a:pt x="3838100" y="1520070"/>
                  <a:pt x="3870687" y="1506287"/>
                </a:cubicBezTo>
                <a:lnTo>
                  <a:pt x="3914456" y="1497451"/>
                </a:lnTo>
                <a:close/>
                <a:moveTo>
                  <a:pt x="1949785" y="1497450"/>
                </a:moveTo>
                <a:lnTo>
                  <a:pt x="3518648" y="1497450"/>
                </a:lnTo>
                <a:lnTo>
                  <a:pt x="3537134" y="1497451"/>
                </a:lnTo>
                <a:lnTo>
                  <a:pt x="3580902" y="1506287"/>
                </a:lnTo>
                <a:cubicBezTo>
                  <a:pt x="3613490" y="1520070"/>
                  <a:pt x="3639597" y="1546176"/>
                  <a:pt x="3653380" y="1578764"/>
                </a:cubicBezTo>
                <a:lnTo>
                  <a:pt x="3662216" y="1622536"/>
                </a:lnTo>
                <a:lnTo>
                  <a:pt x="3662216" y="1641015"/>
                </a:lnTo>
                <a:lnTo>
                  <a:pt x="3662218" y="1641014"/>
                </a:lnTo>
                <a:lnTo>
                  <a:pt x="3662217" y="3215685"/>
                </a:lnTo>
                <a:lnTo>
                  <a:pt x="3662217" y="3215686"/>
                </a:lnTo>
                <a:cubicBezTo>
                  <a:pt x="3662217" y="3290902"/>
                  <a:pt x="3601242" y="3351876"/>
                  <a:pt x="3526026" y="3351876"/>
                </a:cubicBezTo>
                <a:cubicBezTo>
                  <a:pt x="3507221" y="3351876"/>
                  <a:pt x="3489308" y="3348066"/>
                  <a:pt x="3473014" y="3341173"/>
                </a:cubicBezTo>
                <a:lnTo>
                  <a:pt x="3436813" y="3316766"/>
                </a:lnTo>
                <a:lnTo>
                  <a:pt x="1856157" y="1736112"/>
                </a:lnTo>
                <a:cubicBezTo>
                  <a:pt x="1856157" y="1736111"/>
                  <a:pt x="1856156" y="1736111"/>
                  <a:pt x="1856156" y="1736111"/>
                </a:cubicBezTo>
                <a:lnTo>
                  <a:pt x="1836206" y="1716161"/>
                </a:lnTo>
                <a:lnTo>
                  <a:pt x="1815054" y="1684787"/>
                </a:lnTo>
                <a:cubicBezTo>
                  <a:pt x="1808163" y="1668493"/>
                  <a:pt x="1804351" y="1650579"/>
                  <a:pt x="1804351" y="1631775"/>
                </a:cubicBezTo>
                <a:cubicBezTo>
                  <a:pt x="1804351" y="1575363"/>
                  <a:pt x="1838650" y="1526961"/>
                  <a:pt x="1887531" y="1506287"/>
                </a:cubicBezTo>
                <a:lnTo>
                  <a:pt x="1931299" y="1497451"/>
                </a:lnTo>
                <a:lnTo>
                  <a:pt x="1949785" y="1497451"/>
                </a:lnTo>
                <a:close/>
                <a:moveTo>
                  <a:pt x="9740963" y="853857"/>
                </a:moveTo>
                <a:lnTo>
                  <a:pt x="9740963" y="1343201"/>
                </a:lnTo>
                <a:lnTo>
                  <a:pt x="9583907" y="1343201"/>
                </a:lnTo>
                <a:lnTo>
                  <a:pt x="9583907" y="1343200"/>
                </a:lnTo>
                <a:lnTo>
                  <a:pt x="9565421" y="1343200"/>
                </a:lnTo>
                <a:lnTo>
                  <a:pt x="9521653" y="1334363"/>
                </a:lnTo>
                <a:cubicBezTo>
                  <a:pt x="9472773" y="1313689"/>
                  <a:pt x="9438473" y="1265288"/>
                  <a:pt x="9438473" y="1208876"/>
                </a:cubicBezTo>
                <a:cubicBezTo>
                  <a:pt x="9438473" y="1190072"/>
                  <a:pt x="9442285" y="1172158"/>
                  <a:pt x="9449177" y="1155864"/>
                </a:cubicBezTo>
                <a:lnTo>
                  <a:pt x="9470329" y="1124490"/>
                </a:lnTo>
                <a:lnTo>
                  <a:pt x="9490279" y="1104541"/>
                </a:lnTo>
                <a:cubicBezTo>
                  <a:pt x="9490279" y="1104540"/>
                  <a:pt x="9490281" y="1104540"/>
                  <a:pt x="9490281" y="1104539"/>
                </a:cubicBezTo>
                <a:close/>
                <a:moveTo>
                  <a:pt x="8878787" y="0"/>
                </a:moveTo>
                <a:lnTo>
                  <a:pt x="9740963" y="0"/>
                </a:lnTo>
                <a:lnTo>
                  <a:pt x="9740963" y="671317"/>
                </a:lnTo>
                <a:lnTo>
                  <a:pt x="9104189" y="1308091"/>
                </a:lnTo>
                <a:lnTo>
                  <a:pt x="9067989" y="1332498"/>
                </a:lnTo>
                <a:cubicBezTo>
                  <a:pt x="9051695" y="1339390"/>
                  <a:pt x="9033781" y="1343201"/>
                  <a:pt x="9014977" y="1343201"/>
                </a:cubicBezTo>
                <a:cubicBezTo>
                  <a:pt x="8939761" y="1343201"/>
                  <a:pt x="8878787" y="1282226"/>
                  <a:pt x="8878787" y="1207011"/>
                </a:cubicBezTo>
                <a:lnTo>
                  <a:pt x="8878787" y="1207009"/>
                </a:lnTo>
                <a:close/>
                <a:moveTo>
                  <a:pt x="7218138" y="0"/>
                </a:moveTo>
                <a:lnTo>
                  <a:pt x="8751631" y="0"/>
                </a:lnTo>
                <a:lnTo>
                  <a:pt x="8751631" y="1207009"/>
                </a:lnTo>
                <a:lnTo>
                  <a:pt x="8751631" y="1207011"/>
                </a:lnTo>
                <a:cubicBezTo>
                  <a:pt x="8751631" y="1282226"/>
                  <a:pt x="8690657" y="1343201"/>
                  <a:pt x="8615441" y="1343201"/>
                </a:cubicBezTo>
                <a:cubicBezTo>
                  <a:pt x="8596637" y="1343201"/>
                  <a:pt x="8578723" y="1339390"/>
                  <a:pt x="8562429" y="1332498"/>
                </a:cubicBezTo>
                <a:lnTo>
                  <a:pt x="8526229" y="1308091"/>
                </a:lnTo>
                <a:close/>
                <a:moveTo>
                  <a:pt x="6334079" y="0"/>
                </a:moveTo>
                <a:lnTo>
                  <a:pt x="7035598" y="0"/>
                </a:lnTo>
                <a:lnTo>
                  <a:pt x="8140137" y="1104539"/>
                </a:lnTo>
                <a:cubicBezTo>
                  <a:pt x="8140139" y="1104540"/>
                  <a:pt x="8140139" y="1104540"/>
                  <a:pt x="8140139" y="1104541"/>
                </a:cubicBezTo>
                <a:lnTo>
                  <a:pt x="8160089" y="1124490"/>
                </a:lnTo>
                <a:lnTo>
                  <a:pt x="8181241" y="1155864"/>
                </a:lnTo>
                <a:cubicBezTo>
                  <a:pt x="8188133" y="1172158"/>
                  <a:pt x="8191945" y="1190072"/>
                  <a:pt x="8191945" y="1208876"/>
                </a:cubicBezTo>
                <a:cubicBezTo>
                  <a:pt x="8191945" y="1265288"/>
                  <a:pt x="8157647" y="1313689"/>
                  <a:pt x="8108765" y="1334363"/>
                </a:cubicBezTo>
                <a:lnTo>
                  <a:pt x="8064997" y="1343200"/>
                </a:lnTo>
                <a:lnTo>
                  <a:pt x="8046511" y="1343200"/>
                </a:lnTo>
                <a:lnTo>
                  <a:pt x="8046511" y="1343201"/>
                </a:lnTo>
                <a:lnTo>
                  <a:pt x="6477647" y="1343201"/>
                </a:lnTo>
                <a:lnTo>
                  <a:pt x="6459161" y="1343200"/>
                </a:lnTo>
                <a:lnTo>
                  <a:pt x="6415393" y="1334363"/>
                </a:lnTo>
                <a:cubicBezTo>
                  <a:pt x="6382805" y="1320581"/>
                  <a:pt x="6356699" y="1294475"/>
                  <a:pt x="6342917" y="1261887"/>
                </a:cubicBezTo>
                <a:lnTo>
                  <a:pt x="6334079" y="1218115"/>
                </a:lnTo>
                <a:lnTo>
                  <a:pt x="6334079" y="1199637"/>
                </a:lnTo>
                <a:lnTo>
                  <a:pt x="6334079" y="1199636"/>
                </a:lnTo>
                <a:close/>
                <a:moveTo>
                  <a:pt x="5505405" y="0"/>
                </a:moveTo>
                <a:lnTo>
                  <a:pt x="6206923" y="0"/>
                </a:lnTo>
                <a:lnTo>
                  <a:pt x="6206923" y="1199636"/>
                </a:lnTo>
                <a:lnTo>
                  <a:pt x="6206923" y="1199637"/>
                </a:lnTo>
                <a:lnTo>
                  <a:pt x="6206923" y="1218115"/>
                </a:lnTo>
                <a:lnTo>
                  <a:pt x="6198085" y="1261887"/>
                </a:lnTo>
                <a:cubicBezTo>
                  <a:pt x="6184303" y="1294475"/>
                  <a:pt x="6158197" y="1320581"/>
                  <a:pt x="6125609" y="1334363"/>
                </a:cubicBezTo>
                <a:lnTo>
                  <a:pt x="6081841" y="1343200"/>
                </a:lnTo>
                <a:lnTo>
                  <a:pt x="6063355" y="1343201"/>
                </a:lnTo>
                <a:lnTo>
                  <a:pt x="4494493" y="1343201"/>
                </a:lnTo>
                <a:lnTo>
                  <a:pt x="4494493" y="1343200"/>
                </a:lnTo>
                <a:lnTo>
                  <a:pt x="4476006" y="1343200"/>
                </a:lnTo>
                <a:lnTo>
                  <a:pt x="4432239" y="1334363"/>
                </a:lnTo>
                <a:cubicBezTo>
                  <a:pt x="4383357" y="1313689"/>
                  <a:pt x="4349060" y="1265288"/>
                  <a:pt x="4349060" y="1208876"/>
                </a:cubicBezTo>
                <a:cubicBezTo>
                  <a:pt x="4349060" y="1190072"/>
                  <a:pt x="4352871" y="1172158"/>
                  <a:pt x="4359762" y="1155864"/>
                </a:cubicBezTo>
                <a:lnTo>
                  <a:pt x="4380915" y="1124490"/>
                </a:lnTo>
                <a:lnTo>
                  <a:pt x="4400865" y="1104541"/>
                </a:lnTo>
                <a:cubicBezTo>
                  <a:pt x="4400865" y="1104540"/>
                  <a:pt x="4400865" y="1104540"/>
                  <a:pt x="4400867" y="1104539"/>
                </a:cubicBezTo>
                <a:close/>
                <a:moveTo>
                  <a:pt x="3789372" y="0"/>
                </a:moveTo>
                <a:lnTo>
                  <a:pt x="5322865" y="0"/>
                </a:lnTo>
                <a:lnTo>
                  <a:pt x="4014775" y="1308091"/>
                </a:lnTo>
                <a:lnTo>
                  <a:pt x="3978576" y="1332498"/>
                </a:lnTo>
                <a:cubicBezTo>
                  <a:pt x="3962281" y="1339390"/>
                  <a:pt x="3944367" y="1343201"/>
                  <a:pt x="3925564" y="1343201"/>
                </a:cubicBezTo>
                <a:cubicBezTo>
                  <a:pt x="3850347" y="1343201"/>
                  <a:pt x="3789372" y="1282226"/>
                  <a:pt x="3789372" y="1207011"/>
                </a:cubicBezTo>
                <a:lnTo>
                  <a:pt x="3789372" y="1207009"/>
                </a:lnTo>
                <a:close/>
                <a:moveTo>
                  <a:pt x="2128722" y="0"/>
                </a:moveTo>
                <a:lnTo>
                  <a:pt x="3662218" y="0"/>
                </a:lnTo>
                <a:lnTo>
                  <a:pt x="3662218" y="1207009"/>
                </a:lnTo>
                <a:lnTo>
                  <a:pt x="3662218" y="1207011"/>
                </a:lnTo>
                <a:cubicBezTo>
                  <a:pt x="3662218" y="1282226"/>
                  <a:pt x="3601243" y="1343201"/>
                  <a:pt x="3526026" y="1343201"/>
                </a:cubicBezTo>
                <a:cubicBezTo>
                  <a:pt x="3507222" y="1343201"/>
                  <a:pt x="3489309" y="1339390"/>
                  <a:pt x="3473015" y="1332498"/>
                </a:cubicBezTo>
                <a:lnTo>
                  <a:pt x="3436814" y="1308091"/>
                </a:lnTo>
                <a:close/>
                <a:moveTo>
                  <a:pt x="1244667" y="0"/>
                </a:moveTo>
                <a:lnTo>
                  <a:pt x="1946188" y="0"/>
                </a:lnTo>
                <a:lnTo>
                  <a:pt x="3050724" y="1104539"/>
                </a:lnTo>
                <a:cubicBezTo>
                  <a:pt x="3050724" y="1104540"/>
                  <a:pt x="3050724" y="1104540"/>
                  <a:pt x="3050726" y="1104541"/>
                </a:cubicBezTo>
                <a:lnTo>
                  <a:pt x="3070675" y="1124490"/>
                </a:lnTo>
                <a:lnTo>
                  <a:pt x="3091828" y="1155864"/>
                </a:lnTo>
                <a:cubicBezTo>
                  <a:pt x="3098719" y="1172158"/>
                  <a:pt x="3102530" y="1190072"/>
                  <a:pt x="3102530" y="1208876"/>
                </a:cubicBezTo>
                <a:cubicBezTo>
                  <a:pt x="3102530" y="1265288"/>
                  <a:pt x="3068231" y="1313689"/>
                  <a:pt x="3019351" y="1334363"/>
                </a:cubicBezTo>
                <a:lnTo>
                  <a:pt x="2975584" y="1343200"/>
                </a:lnTo>
                <a:lnTo>
                  <a:pt x="2957097" y="1343200"/>
                </a:lnTo>
                <a:lnTo>
                  <a:pt x="2957097" y="1343201"/>
                </a:lnTo>
                <a:lnTo>
                  <a:pt x="1388238" y="1343201"/>
                </a:lnTo>
                <a:lnTo>
                  <a:pt x="1369751" y="1343200"/>
                </a:lnTo>
                <a:lnTo>
                  <a:pt x="1325983" y="1334363"/>
                </a:lnTo>
                <a:cubicBezTo>
                  <a:pt x="1293396" y="1320581"/>
                  <a:pt x="1267290" y="1294475"/>
                  <a:pt x="1253507" y="1261887"/>
                </a:cubicBezTo>
                <a:lnTo>
                  <a:pt x="1244670" y="1218115"/>
                </a:lnTo>
                <a:lnTo>
                  <a:pt x="1244670" y="1199636"/>
                </a:lnTo>
                <a:lnTo>
                  <a:pt x="1244667" y="1199637"/>
                </a:lnTo>
                <a:close/>
                <a:moveTo>
                  <a:pt x="13126" y="0"/>
                </a:moveTo>
                <a:lnTo>
                  <a:pt x="1128917" y="0"/>
                </a:lnTo>
                <a:lnTo>
                  <a:pt x="1128917" y="783502"/>
                </a:lnTo>
                <a:lnTo>
                  <a:pt x="1128917" y="801988"/>
                </a:lnTo>
                <a:lnTo>
                  <a:pt x="1120079" y="845757"/>
                </a:lnTo>
                <a:cubicBezTo>
                  <a:pt x="1099407" y="894638"/>
                  <a:pt x="1051005" y="928936"/>
                  <a:pt x="994592" y="928936"/>
                </a:cubicBezTo>
                <a:cubicBezTo>
                  <a:pt x="975788" y="928936"/>
                  <a:pt x="957874" y="925125"/>
                  <a:pt x="941580" y="918233"/>
                </a:cubicBezTo>
                <a:lnTo>
                  <a:pt x="910206" y="897080"/>
                </a:lnTo>
                <a:lnTo>
                  <a:pt x="890257" y="877131"/>
                </a:lnTo>
                <a:cubicBezTo>
                  <a:pt x="890257" y="877130"/>
                  <a:pt x="890257" y="877130"/>
                  <a:pt x="890255" y="877129"/>
                </a:cubicBezTo>
                <a:close/>
              </a:path>
            </a:pathLst>
          </a:custGeom>
        </p:spPr>
        <p:txBody>
          <a:bodyPr wrap="square" anchor="t">
            <a:noAutofit/>
          </a:bodyPr>
          <a:lstStyle>
            <a:lvl1pPr marL="0" indent="0">
              <a:buNone/>
              <a:defRPr/>
            </a:lvl1pPr>
          </a:lstStyle>
          <a:p>
            <a:endParaRPr lang="en-US" dirty="0"/>
          </a:p>
        </p:txBody>
      </p:sp>
      <p:cxnSp>
        <p:nvCxnSpPr>
          <p:cNvPr id="5" name="Straight Connector 4">
            <a:extLst>
              <a:ext uri="{FF2B5EF4-FFF2-40B4-BE49-F238E27FC236}">
                <a16:creationId xmlns:a16="http://schemas.microsoft.com/office/drawing/2014/main" id="{A680A1CF-F68C-45F0-A5BC-1B5F31BA0E32}"/>
              </a:ext>
            </a:extLst>
          </p:cNvPr>
          <p:cNvCxnSpPr/>
          <p:nvPr userDrawn="1"/>
        </p:nvCxnSpPr>
        <p:spPr>
          <a:xfrm>
            <a:off x="492968" y="293672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 Placeholder 2">
            <a:extLst>
              <a:ext uri="{FF2B5EF4-FFF2-40B4-BE49-F238E27FC236}">
                <a16:creationId xmlns:a16="http://schemas.microsoft.com/office/drawing/2014/main" id="{589BCDB7-0D00-4F03-A598-19299CFEE44F}"/>
              </a:ext>
            </a:extLst>
          </p:cNvPr>
          <p:cNvSpPr>
            <a:spLocks noGrp="1"/>
          </p:cNvSpPr>
          <p:nvPr>
            <p:ph type="body" sz="quarter" idx="11" hasCustomPrompt="1"/>
          </p:nvPr>
        </p:nvSpPr>
        <p:spPr>
          <a:xfrm>
            <a:off x="390331" y="2558338"/>
            <a:ext cx="3657600" cy="274320"/>
          </a:xfrm>
          <a:prstGeom prst="rect">
            <a:avLst/>
          </a:prstGeom>
        </p:spPr>
        <p:txBody>
          <a:bodyPr anchor="ctr"/>
          <a:lstStyle>
            <a:lvl1pPr marL="0" indent="0" algn="l">
              <a:lnSpc>
                <a:spcPct val="100000"/>
              </a:lnSpc>
              <a:spcBef>
                <a:spcPts val="0"/>
              </a:spcBef>
              <a:buNone/>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7" name="Text Placeholder 4">
            <a:extLst>
              <a:ext uri="{FF2B5EF4-FFF2-40B4-BE49-F238E27FC236}">
                <a16:creationId xmlns:a16="http://schemas.microsoft.com/office/drawing/2014/main" id="{4BEABEEC-14B6-4419-97EE-7111538ADA2A}"/>
              </a:ext>
            </a:extLst>
          </p:cNvPr>
          <p:cNvSpPr>
            <a:spLocks noGrp="1"/>
          </p:cNvSpPr>
          <p:nvPr>
            <p:ph type="body" sz="quarter" idx="61" hasCustomPrompt="1"/>
          </p:nvPr>
        </p:nvSpPr>
        <p:spPr>
          <a:xfrm>
            <a:off x="390331" y="3434353"/>
            <a:ext cx="36576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2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9" name="Text Placeholder 7">
            <a:extLst>
              <a:ext uri="{FF2B5EF4-FFF2-40B4-BE49-F238E27FC236}">
                <a16:creationId xmlns:a16="http://schemas.microsoft.com/office/drawing/2014/main" id="{7F667EF6-0F30-4E08-A465-3D645C4BCC8B}"/>
              </a:ext>
            </a:extLst>
          </p:cNvPr>
          <p:cNvSpPr>
            <a:spLocks noGrp="1"/>
          </p:cNvSpPr>
          <p:nvPr>
            <p:ph type="body" sz="quarter" idx="62" hasCustomPrompt="1"/>
          </p:nvPr>
        </p:nvSpPr>
        <p:spPr>
          <a:xfrm>
            <a:off x="390331" y="1600200"/>
            <a:ext cx="3657600" cy="854075"/>
          </a:xfrm>
          <a:prstGeom prst="rect">
            <a:avLst/>
          </a:prstGeom>
        </p:spPr>
        <p:txBody>
          <a:bodyPr anchor="ctr"/>
          <a:lstStyle>
            <a:lvl1pPr marL="0" indent="0" algn="l">
              <a:lnSpc>
                <a:spcPct val="100000"/>
              </a:lnSpc>
              <a:spcBef>
                <a:spcPts val="0"/>
              </a:spcBef>
              <a:buNone/>
              <a:defRPr sz="3400">
                <a:solidFill>
                  <a:schemeClr val="accent5"/>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Tree>
    <p:extLst>
      <p:ext uri="{BB962C8B-B14F-4D97-AF65-F5344CB8AC3E}">
        <p14:creationId xmlns:p14="http://schemas.microsoft.com/office/powerpoint/2010/main" val="27091257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5EE70E34-1047-42DB-AE04-3FB5C5C73170}"/>
              </a:ext>
            </a:extLst>
          </p:cNvPr>
          <p:cNvCxnSpPr/>
          <p:nvPr userDrawn="1"/>
        </p:nvCxnSpPr>
        <p:spPr>
          <a:xfrm>
            <a:off x="502298" y="34329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91E35A11-59C2-4DD8-97F5-697648D5216D}"/>
              </a:ext>
            </a:extLst>
          </p:cNvPr>
          <p:cNvSpPr>
            <a:spLocks noGrp="1"/>
          </p:cNvSpPr>
          <p:nvPr>
            <p:ph type="body" sz="quarter" idx="11" hasCustomPrompt="1"/>
          </p:nvPr>
        </p:nvSpPr>
        <p:spPr>
          <a:xfrm>
            <a:off x="390331" y="3054598"/>
            <a:ext cx="5715000" cy="274320"/>
          </a:xfrm>
          <a:prstGeom prst="rect">
            <a:avLst/>
          </a:prstGeom>
        </p:spPr>
        <p:txBody>
          <a:bodyPr anchor="ctr"/>
          <a:lstStyle>
            <a:lvl1pPr marL="0" indent="0" algn="l">
              <a:lnSpc>
                <a:spcPct val="100000"/>
              </a:lnSpc>
              <a:spcBef>
                <a:spcPts val="0"/>
              </a:spcBef>
              <a:buNone/>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0" name="Text Placeholder 4">
            <a:extLst>
              <a:ext uri="{FF2B5EF4-FFF2-40B4-BE49-F238E27FC236}">
                <a16:creationId xmlns:a16="http://schemas.microsoft.com/office/drawing/2014/main" id="{7E4F9CEB-1802-473C-925A-840A8ED7B237}"/>
              </a:ext>
            </a:extLst>
          </p:cNvPr>
          <p:cNvSpPr>
            <a:spLocks noGrp="1"/>
          </p:cNvSpPr>
          <p:nvPr>
            <p:ph type="body" sz="quarter" idx="61" hasCustomPrompt="1"/>
          </p:nvPr>
        </p:nvSpPr>
        <p:spPr>
          <a:xfrm>
            <a:off x="390331" y="3537044"/>
            <a:ext cx="5715000" cy="2578005"/>
          </a:xfrm>
          <a:prstGeom prst="rect">
            <a:avLst/>
          </a:prstGeom>
        </p:spPr>
        <p:txBody>
          <a:bodyPr>
            <a:norm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content</a:t>
            </a:r>
          </a:p>
        </p:txBody>
      </p:sp>
      <p:sp>
        <p:nvSpPr>
          <p:cNvPr id="12" name="TextBox 11">
            <a:extLst>
              <a:ext uri="{FF2B5EF4-FFF2-40B4-BE49-F238E27FC236}">
                <a16:creationId xmlns:a16="http://schemas.microsoft.com/office/drawing/2014/main" id="{A3765DE3-4867-424A-B553-0EE0D6B69DBB}"/>
              </a:ext>
            </a:extLst>
          </p:cNvPr>
          <p:cNvSpPr txBox="1"/>
          <p:nvPr userDrawn="1"/>
        </p:nvSpPr>
        <p:spPr>
          <a:xfrm>
            <a:off x="390331" y="2334982"/>
            <a:ext cx="5715000" cy="615553"/>
          </a:xfrm>
          <a:prstGeom prst="rect">
            <a:avLst/>
          </a:prstGeom>
          <a:noFill/>
        </p:spPr>
        <p:txBody>
          <a:bodyPr wrap="square" rtlCol="0" anchor="b">
            <a:spAutoFit/>
          </a:bodyPr>
          <a:lstStyle/>
          <a:p>
            <a:r>
              <a:rPr lang="en-US" sz="34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Q&amp;A DISCUSSION</a:t>
            </a:r>
          </a:p>
        </p:txBody>
      </p:sp>
      <p:pic>
        <p:nvPicPr>
          <p:cNvPr id="13" name="Picture Placeholder 5">
            <a:extLst>
              <a:ext uri="{FF2B5EF4-FFF2-40B4-BE49-F238E27FC236}">
                <a16:creationId xmlns:a16="http://schemas.microsoft.com/office/drawing/2014/main" id="{E1CE07EB-D7A1-4DCD-BC11-38AD5B76DB0F}"/>
              </a:ext>
            </a:extLst>
          </p:cNvPr>
          <p:cNvPicPr>
            <a:picLocks noChangeAspect="1"/>
          </p:cNvPicPr>
          <p:nvPr userDrawn="1"/>
        </p:nvPicPr>
        <p:blipFill>
          <a:blip r:embed="rId2"/>
          <a:srcRect/>
          <a:stretch/>
        </p:blipFill>
        <p:spPr>
          <a:xfrm>
            <a:off x="5315339" y="-9330"/>
            <a:ext cx="6876661" cy="6876661"/>
          </a:xfrm>
          <a:custGeom>
            <a:avLst/>
            <a:gdLst>
              <a:gd name="connsiteX0" fmla="*/ 0 w 16170352"/>
              <a:gd name="connsiteY0" fmla="*/ 0 h 13716000"/>
              <a:gd name="connsiteX1" fmla="*/ 7097554 w 16170352"/>
              <a:gd name="connsiteY1" fmla="*/ 0 h 13716000"/>
              <a:gd name="connsiteX2" fmla="*/ 7194481 w 16170352"/>
              <a:gd name="connsiteY2" fmla="*/ 0 h 13716000"/>
              <a:gd name="connsiteX3" fmla="*/ 16170352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0" fmla="*/ 0 w 16170352"/>
              <a:gd name="connsiteY0" fmla="*/ 0 h 13716000"/>
              <a:gd name="connsiteX1" fmla="*/ 7097554 w 16170352"/>
              <a:gd name="connsiteY1" fmla="*/ 0 h 13716000"/>
              <a:gd name="connsiteX2" fmla="*/ 7194481 w 16170352"/>
              <a:gd name="connsiteY2" fmla="*/ 0 h 13716000"/>
              <a:gd name="connsiteX3" fmla="*/ 14342028 w 16170352"/>
              <a:gd name="connsiteY3" fmla="*/ 0 h 13716000"/>
              <a:gd name="connsiteX4" fmla="*/ 16170352 w 16170352"/>
              <a:gd name="connsiteY4" fmla="*/ 13716000 h 13716000"/>
              <a:gd name="connsiteX5" fmla="*/ 14195106 w 16170352"/>
              <a:gd name="connsiteY5" fmla="*/ 13716000 h 13716000"/>
              <a:gd name="connsiteX6" fmla="*/ 7097554 w 16170352"/>
              <a:gd name="connsiteY6" fmla="*/ 13716000 h 13716000"/>
              <a:gd name="connsiteX7" fmla="*/ 7000628 w 16170352"/>
              <a:gd name="connsiteY7" fmla="*/ 13716000 h 13716000"/>
              <a:gd name="connsiteX8" fmla="*/ 0 w 16170352"/>
              <a:gd name="connsiteY8" fmla="*/ 0 h 13716000"/>
              <a:gd name="connsiteX0" fmla="*/ 0 w 14397998"/>
              <a:gd name="connsiteY0" fmla="*/ 0 h 13734662"/>
              <a:gd name="connsiteX1" fmla="*/ 7097554 w 14397998"/>
              <a:gd name="connsiteY1" fmla="*/ 0 h 13734662"/>
              <a:gd name="connsiteX2" fmla="*/ 7194481 w 14397998"/>
              <a:gd name="connsiteY2" fmla="*/ 0 h 13734662"/>
              <a:gd name="connsiteX3" fmla="*/ 1434202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3838308 w 14397998"/>
              <a:gd name="connsiteY3" fmla="*/ 0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61582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0 h 13734662"/>
              <a:gd name="connsiteX1" fmla="*/ 7097554 w 14397998"/>
              <a:gd name="connsiteY1" fmla="*/ 0 h 13734662"/>
              <a:gd name="connsiteX2" fmla="*/ 7194481 w 14397998"/>
              <a:gd name="connsiteY2" fmla="*/ 0 h 13734662"/>
              <a:gd name="connsiteX3" fmla="*/ 14379341 w 14397998"/>
              <a:gd name="connsiteY3" fmla="*/ 18662 h 13734662"/>
              <a:gd name="connsiteX4" fmla="*/ 14397998 w 14397998"/>
              <a:gd name="connsiteY4" fmla="*/ 13734662 h 13734662"/>
              <a:gd name="connsiteX5" fmla="*/ 14195106 w 14397998"/>
              <a:gd name="connsiteY5" fmla="*/ 13716000 h 13734662"/>
              <a:gd name="connsiteX6" fmla="*/ 7097554 w 14397998"/>
              <a:gd name="connsiteY6" fmla="*/ 13716000 h 13734662"/>
              <a:gd name="connsiteX7" fmla="*/ 7000628 w 14397998"/>
              <a:gd name="connsiteY7" fmla="*/ 13716000 h 13734662"/>
              <a:gd name="connsiteX8" fmla="*/ 0 w 14397998"/>
              <a:gd name="connsiteY8" fmla="*/ 0 h 13734662"/>
              <a:gd name="connsiteX0" fmla="*/ 0 w 14397998"/>
              <a:gd name="connsiteY0" fmla="*/ 18660 h 13753322"/>
              <a:gd name="connsiteX1" fmla="*/ 7097554 w 14397998"/>
              <a:gd name="connsiteY1" fmla="*/ 18660 h 13753322"/>
              <a:gd name="connsiteX2" fmla="*/ 7194481 w 14397998"/>
              <a:gd name="connsiteY2" fmla="*/ 18660 h 13753322"/>
              <a:gd name="connsiteX3" fmla="*/ 14397998 w 14397998"/>
              <a:gd name="connsiteY3" fmla="*/ 0 h 13753322"/>
              <a:gd name="connsiteX4" fmla="*/ 14397998 w 14397998"/>
              <a:gd name="connsiteY4" fmla="*/ 13753322 h 13753322"/>
              <a:gd name="connsiteX5" fmla="*/ 14195106 w 14397998"/>
              <a:gd name="connsiteY5" fmla="*/ 13734660 h 13753322"/>
              <a:gd name="connsiteX6" fmla="*/ 7097554 w 14397998"/>
              <a:gd name="connsiteY6" fmla="*/ 13734660 h 13753322"/>
              <a:gd name="connsiteX7" fmla="*/ 7000628 w 14397998"/>
              <a:gd name="connsiteY7" fmla="*/ 13734660 h 13753322"/>
              <a:gd name="connsiteX8" fmla="*/ 0 w 14397998"/>
              <a:gd name="connsiteY8" fmla="*/ 18660 h 137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97998" h="13753322">
                <a:moveTo>
                  <a:pt x="0" y="18660"/>
                </a:moveTo>
                <a:lnTo>
                  <a:pt x="7097554" y="18660"/>
                </a:lnTo>
                <a:lnTo>
                  <a:pt x="7194481" y="18660"/>
                </a:lnTo>
                <a:lnTo>
                  <a:pt x="14397998" y="0"/>
                </a:lnTo>
                <a:lnTo>
                  <a:pt x="14397998" y="13753322"/>
                </a:lnTo>
                <a:lnTo>
                  <a:pt x="14195106" y="13734660"/>
                </a:lnTo>
                <a:lnTo>
                  <a:pt x="7097554" y="13734660"/>
                </a:lnTo>
                <a:lnTo>
                  <a:pt x="7000628" y="13734660"/>
                </a:lnTo>
                <a:lnTo>
                  <a:pt x="0" y="18660"/>
                </a:lnTo>
                <a:close/>
              </a:path>
            </a:pathLst>
          </a:custGeom>
        </p:spPr>
      </p:pic>
      <p:sp>
        <p:nvSpPr>
          <p:cNvPr id="8" name="TextBox 7">
            <a:extLst>
              <a:ext uri="{FF2B5EF4-FFF2-40B4-BE49-F238E27FC236}">
                <a16:creationId xmlns:a16="http://schemas.microsoft.com/office/drawing/2014/main" id="{802D4AF7-CE7A-4504-9D3B-DA8988601B4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595215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Placeholder 9">
            <a:extLst>
              <a:ext uri="{FF2B5EF4-FFF2-40B4-BE49-F238E27FC236}">
                <a16:creationId xmlns:a16="http://schemas.microsoft.com/office/drawing/2014/main" id="{A10618A3-F76F-43EF-8345-CF9ADF05F7C5}"/>
              </a:ext>
            </a:extLst>
          </p:cNvPr>
          <p:cNvPicPr>
            <a:picLocks noChangeAspect="1"/>
          </p:cNvPicPr>
          <p:nvPr userDrawn="1"/>
        </p:nvPicPr>
        <p:blipFill>
          <a:blip r:embed="rId2"/>
          <a:srcRect/>
          <a:stretch/>
        </p:blipFill>
        <p:spPr>
          <a:xfrm>
            <a:off x="-1" y="0"/>
            <a:ext cx="12188950" cy="6857999"/>
          </a:xfrm>
          <a:prstGeom prst="rect">
            <a:avLst/>
          </a:prstGeom>
        </p:spPr>
      </p:pic>
      <p:sp>
        <p:nvSpPr>
          <p:cNvPr id="4" name="Rectangle 3">
            <a:extLst>
              <a:ext uri="{FF2B5EF4-FFF2-40B4-BE49-F238E27FC236}">
                <a16:creationId xmlns:a16="http://schemas.microsoft.com/office/drawing/2014/main" id="{019E0FBB-3A6F-4456-B069-C0BF9653EFF7}"/>
              </a:ext>
            </a:extLst>
          </p:cNvPr>
          <p:cNvSpPr/>
          <p:nvPr userDrawn="1"/>
        </p:nvSpPr>
        <p:spPr>
          <a:xfrm>
            <a:off x="-1" y="1"/>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sp>
        <p:nvSpPr>
          <p:cNvPr id="5" name="Rectangle 4">
            <a:extLst>
              <a:ext uri="{FF2B5EF4-FFF2-40B4-BE49-F238E27FC236}">
                <a16:creationId xmlns:a16="http://schemas.microsoft.com/office/drawing/2014/main" id="{58CBFCDF-35FC-4C67-857B-503AB53B27BA}"/>
              </a:ext>
            </a:extLst>
          </p:cNvPr>
          <p:cNvSpPr>
            <a:spLocks/>
          </p:cNvSpPr>
          <p:nvPr userDrawn="1"/>
        </p:nvSpPr>
        <p:spPr bwMode="auto">
          <a:xfrm>
            <a:off x="976498" y="1613180"/>
            <a:ext cx="10239021"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Lst>
        </p:spPr>
        <p:txBody>
          <a:bodyPr vert="horz" wrap="none" lIns="0" tIns="0" rIns="0" bIns="0" anchor="ctr" anchorCtr="0">
            <a:spAutoFit/>
          </a:bodyPr>
          <a:lstStyle/>
          <a:p>
            <a:pPr algn="ctr" defTabSz="2286000"/>
            <a:r>
              <a:rPr lang="en-US" sz="6000" spc="1750"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Bebas Neue" charset="0"/>
              </a:rPr>
              <a:t>CONNECT WITH US</a:t>
            </a:r>
          </a:p>
        </p:txBody>
      </p:sp>
      <p:sp>
        <p:nvSpPr>
          <p:cNvPr id="10" name="Rectangle 9">
            <a:extLst>
              <a:ext uri="{FF2B5EF4-FFF2-40B4-BE49-F238E27FC236}">
                <a16:creationId xmlns:a16="http://schemas.microsoft.com/office/drawing/2014/main" id="{64EB43D7-6E46-4F6B-A9DB-D495F1CDBCFC}"/>
              </a:ext>
            </a:extLst>
          </p:cNvPr>
          <p:cNvSpPr/>
          <p:nvPr userDrawn="1"/>
        </p:nvSpPr>
        <p:spPr>
          <a:xfrm>
            <a:off x="1558463" y="4140246"/>
            <a:ext cx="1072730"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WEBSITE</a:t>
            </a:r>
          </a:p>
        </p:txBody>
      </p:sp>
      <p:sp>
        <p:nvSpPr>
          <p:cNvPr id="14" name="TextBox 13">
            <a:extLst>
              <a:ext uri="{FF2B5EF4-FFF2-40B4-BE49-F238E27FC236}">
                <a16:creationId xmlns:a16="http://schemas.microsoft.com/office/drawing/2014/main" id="{814207CC-50C5-45B1-A678-BF87E786B617}"/>
              </a:ext>
            </a:extLst>
          </p:cNvPr>
          <p:cNvSpPr txBox="1"/>
          <p:nvPr userDrawn="1"/>
        </p:nvSpPr>
        <p:spPr>
          <a:xfrm>
            <a:off x="381000" y="5794258"/>
            <a:ext cx="11430000" cy="693010"/>
          </a:xfrm>
          <a:prstGeom prst="rect">
            <a:avLst/>
          </a:prstGeom>
          <a:noFill/>
        </p:spPr>
        <p:txBody>
          <a:bodyPr wrap="square" rtlCol="0">
            <a:spAutoFit/>
          </a:bodyPr>
          <a:lstStyle/>
          <a:p>
            <a:pPr algn="ctr">
              <a:lnSpc>
                <a:spcPts val="1620"/>
              </a:lnSpc>
            </a:pPr>
            <a:r>
              <a:rPr lang="en-US" sz="1100" dirty="0">
                <a:solidFill>
                  <a:schemeClr val="bg2"/>
                </a:solidFill>
                <a:latin typeface="Open Sans" panose="020B0606030504020204" pitchFamily="34" charset="0"/>
                <a:ea typeface="Open Sans" panose="020B0606030504020204" pitchFamily="34" charset="0"/>
                <a:cs typeface="Open Sans" panose="020B0606030504020204" pitchFamily="34" charset="0"/>
              </a:rPr>
              <a:t>Baker Donelson is among the 80 largest law firms in the country, with more than 650 attorneys and public policy advisors representing more than 30 practice areas to serve a wide range of legal needs. Clients receive knowledgeable guidance from experienced, multi-disciplined industry and client service teams, all seamlessly connected across 22 offices in Alabama, Florida, Georgia, Louisiana, Maryland, Mississippi, North Carolina, South Carolina, Tennessee, Texas, Virginia and Washington, D.C.</a:t>
            </a:r>
          </a:p>
        </p:txBody>
      </p:sp>
      <p:pic>
        <p:nvPicPr>
          <p:cNvPr id="15" name="Graphic 14">
            <a:extLst>
              <a:ext uri="{FF2B5EF4-FFF2-40B4-BE49-F238E27FC236}">
                <a16:creationId xmlns:a16="http://schemas.microsoft.com/office/drawing/2014/main" id="{9724FFD9-F0BF-4BBC-85A7-20C8BFA262F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761340" y="3510045"/>
            <a:ext cx="666974" cy="548640"/>
          </a:xfrm>
          <a:prstGeom prst="rect">
            <a:avLst/>
          </a:prstGeom>
        </p:spPr>
      </p:pic>
      <p:pic>
        <p:nvPicPr>
          <p:cNvPr id="16" name="Graphic 15">
            <a:extLst>
              <a:ext uri="{FF2B5EF4-FFF2-40B4-BE49-F238E27FC236}">
                <a16:creationId xmlns:a16="http://schemas.microsoft.com/office/drawing/2014/main" id="{16702A56-F8BD-4883-868A-BF99C0595C9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665906" y="3510046"/>
            <a:ext cx="552450" cy="552450"/>
          </a:xfrm>
          <a:prstGeom prst="rect">
            <a:avLst/>
          </a:prstGeom>
        </p:spPr>
      </p:pic>
      <p:sp>
        <p:nvSpPr>
          <p:cNvPr id="19" name="Rectangle 18">
            <a:extLst>
              <a:ext uri="{FF2B5EF4-FFF2-40B4-BE49-F238E27FC236}">
                <a16:creationId xmlns:a16="http://schemas.microsoft.com/office/drawing/2014/main" id="{96FC3433-DCBB-4866-ABF7-8B8E191533CF}"/>
              </a:ext>
            </a:extLst>
          </p:cNvPr>
          <p:cNvSpPr/>
          <p:nvPr userDrawn="1"/>
        </p:nvSpPr>
        <p:spPr>
          <a:xfrm>
            <a:off x="9407594" y="4140246"/>
            <a:ext cx="1069075"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TWITTER</a:t>
            </a:r>
          </a:p>
        </p:txBody>
      </p:sp>
      <p:sp>
        <p:nvSpPr>
          <p:cNvPr id="21" name="Rectangle 20">
            <a:extLst>
              <a:ext uri="{FF2B5EF4-FFF2-40B4-BE49-F238E27FC236}">
                <a16:creationId xmlns:a16="http://schemas.microsoft.com/office/drawing/2014/main" id="{43DE0751-F48A-4E59-91EF-79F744409C3B}"/>
              </a:ext>
            </a:extLst>
          </p:cNvPr>
          <p:cNvSpPr/>
          <p:nvPr userDrawn="1"/>
        </p:nvSpPr>
        <p:spPr>
          <a:xfrm>
            <a:off x="4142510" y="4140246"/>
            <a:ext cx="129965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FACEBOOK</a:t>
            </a:r>
          </a:p>
        </p:txBody>
      </p:sp>
      <p:pic>
        <p:nvPicPr>
          <p:cNvPr id="24" name="Graphic 23">
            <a:extLst>
              <a:ext uri="{FF2B5EF4-FFF2-40B4-BE49-F238E27FC236}">
                <a16:creationId xmlns:a16="http://schemas.microsoft.com/office/drawing/2014/main" id="{9BC33E3B-9100-46D3-A980-19694787D4C8}"/>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629078" y="3510045"/>
            <a:ext cx="316992" cy="548640"/>
          </a:xfrm>
          <a:prstGeom prst="rect">
            <a:avLst/>
          </a:prstGeom>
        </p:spPr>
      </p:pic>
      <p:sp>
        <p:nvSpPr>
          <p:cNvPr id="25" name="Rectangle 24">
            <a:extLst>
              <a:ext uri="{FF2B5EF4-FFF2-40B4-BE49-F238E27FC236}">
                <a16:creationId xmlns:a16="http://schemas.microsoft.com/office/drawing/2014/main" id="{F8630070-B6DE-4E25-8B85-40507150451A}"/>
              </a:ext>
            </a:extLst>
          </p:cNvPr>
          <p:cNvSpPr/>
          <p:nvPr userDrawn="1"/>
        </p:nvSpPr>
        <p:spPr>
          <a:xfrm>
            <a:off x="6652713" y="4140246"/>
            <a:ext cx="1164101" cy="353943"/>
          </a:xfrm>
          <a:prstGeom prst="rect">
            <a:avLst/>
          </a:prstGeom>
        </p:spPr>
        <p:txBody>
          <a:bodyPr wrap="none">
            <a:spAutoFit/>
          </a:bodyPr>
          <a:lstStyle/>
          <a:p>
            <a:pPr algn="ctr"/>
            <a:r>
              <a:rPr lang="en-US" sz="1700" dirty="0">
                <a:solidFill>
                  <a:schemeClr val="bg1"/>
                </a:solidFill>
                <a:latin typeface="Open Sans" panose="020B0606030504020204" pitchFamily="34" charset="0"/>
                <a:ea typeface="Open Sans" panose="020B0606030504020204" pitchFamily="34" charset="0"/>
                <a:cs typeface="Open Sans" panose="020B0606030504020204" pitchFamily="34" charset="0"/>
              </a:rPr>
              <a:t>LINKEDIN</a:t>
            </a:r>
          </a:p>
        </p:txBody>
      </p:sp>
      <p:pic>
        <p:nvPicPr>
          <p:cNvPr id="28" name="Graphic 27">
            <a:extLst>
              <a:ext uri="{FF2B5EF4-FFF2-40B4-BE49-F238E27FC236}">
                <a16:creationId xmlns:a16="http://schemas.microsoft.com/office/drawing/2014/main" id="{6215D176-E52A-4E57-BD28-411DFE8F12AD}"/>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6958536" y="3514829"/>
            <a:ext cx="552450" cy="552450"/>
          </a:xfrm>
          <a:prstGeom prst="rect">
            <a:avLst/>
          </a:prstGeom>
        </p:spPr>
      </p:pic>
    </p:spTree>
    <p:extLst>
      <p:ext uri="{BB962C8B-B14F-4D97-AF65-F5344CB8AC3E}">
        <p14:creationId xmlns:p14="http://schemas.microsoft.com/office/powerpoint/2010/main" val="10731618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Data Privacy">
    <p:spTree>
      <p:nvGrpSpPr>
        <p:cNvPr id="1" name=""/>
        <p:cNvGrpSpPr/>
        <p:nvPr/>
      </p:nvGrpSpPr>
      <p:grpSpPr>
        <a:xfrm>
          <a:off x="0" y="0"/>
          <a:ext cx="0" cy="0"/>
          <a:chOff x="0" y="0"/>
          <a:chExt cx="0" cy="0"/>
        </a:xfrm>
      </p:grpSpPr>
      <p:pic>
        <p:nvPicPr>
          <p:cNvPr id="12" name="Picture Placeholder 14">
            <a:extLst>
              <a:ext uri="{FF2B5EF4-FFF2-40B4-BE49-F238E27FC236}">
                <a16:creationId xmlns:a16="http://schemas.microsoft.com/office/drawing/2014/main" id="{7FCC1A8B-F827-470E-AA71-EE288BC444C3}"/>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1" name="Rectangle 10">
            <a:extLst>
              <a:ext uri="{FF2B5EF4-FFF2-40B4-BE49-F238E27FC236}">
                <a16:creationId xmlns:a16="http://schemas.microsoft.com/office/drawing/2014/main" id="{CFF768DD-5594-4F4B-B7FE-94A45903BF18}"/>
              </a:ext>
            </a:extLst>
          </p:cNvPr>
          <p:cNvSpPr/>
          <p:nvPr userDrawn="1"/>
        </p:nvSpPr>
        <p:spPr>
          <a:xfrm>
            <a:off x="7414785" y="6373065"/>
            <a:ext cx="4510998" cy="338554"/>
          </a:xfrm>
          <a:prstGeom prst="rect">
            <a:avLst/>
          </a:prstGeom>
        </p:spPr>
        <p:txBody>
          <a:bodyPr wrap="square">
            <a:spAutoFit/>
          </a:bodyPr>
          <a:lstStyle/>
          <a:p>
            <a:pPr algn="r"/>
            <a:r>
              <a:rPr lang="en-US" sz="800" b="1" u="none"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800" kern="1200" dirty="0">
                <a:solidFill>
                  <a:schemeClr val="bg2"/>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800" kern="1200" baseline="0" dirty="0">
                <a:solidFill>
                  <a:schemeClr val="bg2"/>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800" b="0" kern="1200" dirty="0">
              <a:solidFill>
                <a:schemeClr val="bg2"/>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15" name="Straight Connector 14">
            <a:extLst>
              <a:ext uri="{FF2B5EF4-FFF2-40B4-BE49-F238E27FC236}">
                <a16:creationId xmlns:a16="http://schemas.microsoft.com/office/drawing/2014/main" id="{EFC0DD85-ABF6-4AD9-A8BE-86718A77B20B}"/>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6" name="Text Placeholder 10">
            <a:extLst>
              <a:ext uri="{FF2B5EF4-FFF2-40B4-BE49-F238E27FC236}">
                <a16:creationId xmlns:a16="http://schemas.microsoft.com/office/drawing/2014/main" id="{A3CA12F3-089D-4A4B-916E-6E32F1D3957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PRESENTATION TITLE</a:t>
            </a:r>
          </a:p>
        </p:txBody>
      </p:sp>
      <p:sp>
        <p:nvSpPr>
          <p:cNvPr id="18" name="Text Placeholder 14">
            <a:extLst>
              <a:ext uri="{FF2B5EF4-FFF2-40B4-BE49-F238E27FC236}">
                <a16:creationId xmlns:a16="http://schemas.microsoft.com/office/drawing/2014/main" id="{96550741-CAAA-475D-94BF-DA7E83BA2AFC}"/>
              </a:ext>
            </a:extLst>
          </p:cNvPr>
          <p:cNvSpPr>
            <a:spLocks noGrp="1"/>
          </p:cNvSpPr>
          <p:nvPr>
            <p:ph type="body" sz="quarter" idx="11" hasCustomPrompt="1"/>
          </p:nvPr>
        </p:nvSpPr>
        <p:spPr>
          <a:xfrm>
            <a:off x="390525" y="2667283"/>
            <a:ext cx="11420475" cy="64135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F8D44D4B-17C2-4FFF-A198-0B5159579D34}"/>
              </a:ext>
            </a:extLst>
          </p:cNvPr>
          <p:cNvSpPr>
            <a:spLocks noGrp="1"/>
          </p:cNvSpPr>
          <p:nvPr>
            <p:ph type="body" sz="quarter" idx="12" hasCustomPrompt="1"/>
          </p:nvPr>
        </p:nvSpPr>
        <p:spPr>
          <a:xfrm>
            <a:off x="390331" y="3888870"/>
            <a:ext cx="11420475" cy="1828800"/>
          </a:xfrm>
          <a:prstGeom prst="rect">
            <a:avLst/>
          </a:prstGeom>
        </p:spPr>
        <p:txBody>
          <a:bodyPr/>
          <a:lstStyle>
            <a:lvl1pPr marL="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Tree>
    <p:extLst>
      <p:ext uri="{BB962C8B-B14F-4D97-AF65-F5344CB8AC3E}">
        <p14:creationId xmlns:p14="http://schemas.microsoft.com/office/powerpoint/2010/main" val="156837630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2_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5390706" y="622800"/>
            <a:ext cx="6172643" cy="335476"/>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r>
              <a:rPr lang="en-US"/>
              <a:t>Click to add title</a:t>
            </a:r>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6" name="Graphic 5">
            <a:extLst>
              <a:ext uri="{FF2B5EF4-FFF2-40B4-BE49-F238E27FC236}">
                <a16:creationId xmlns:a16="http://schemas.microsoft.com/office/drawing/2014/main" id="{144EFAD7-CDEA-404A-A3BA-848DC6D3EA4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0575"/>
            <a:ext cx="2743200" cy="208825"/>
          </a:xfrm>
          <a:prstGeom prst="rect">
            <a:avLst/>
          </a:prstGeom>
        </p:spPr>
      </p:pic>
      <p:sp>
        <p:nvSpPr>
          <p:cNvPr id="8" name="Rectangle 7">
            <a:extLst>
              <a:ext uri="{FF2B5EF4-FFF2-40B4-BE49-F238E27FC236}">
                <a16:creationId xmlns:a16="http://schemas.microsoft.com/office/drawing/2014/main" id="{6DD065F2-27B2-48D6-A9CC-8ABFAC08D1C4}"/>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6014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ection Divider - Option 1">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28B025F-6D4B-846A-0AF5-D38BCD02E09A}"/>
              </a:ext>
            </a:extLst>
          </p:cNvPr>
          <p:cNvPicPr>
            <a:picLocks noChangeAspect="1"/>
          </p:cNvPicPr>
          <p:nvPr userDrawn="1"/>
        </p:nvPicPr>
        <p:blipFill rotWithShape="1">
          <a:blip r:embed="rId2"/>
          <a:srcRect l="2" t="1" r="-27" b="15604"/>
          <a:stretch/>
        </p:blipFill>
        <p:spPr>
          <a:xfrm>
            <a:off x="1" y="1"/>
            <a:ext cx="12192000" cy="6857999"/>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1"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9821279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itle Slide - Option 1">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dirty="0">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02530D12-DFBB-4383-B7CE-61A42D6497D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1</a:t>
            </a:r>
          </a:p>
        </p:txBody>
      </p:sp>
      <p:sp>
        <p:nvSpPr>
          <p:cNvPr id="15" name="Text Placeholder 14">
            <a:extLst>
              <a:ext uri="{FF2B5EF4-FFF2-40B4-BE49-F238E27FC236}">
                <a16:creationId xmlns:a16="http://schemas.microsoft.com/office/drawing/2014/main" id="{1C90164D-FA56-4C01-B93D-79C0D09A9754}"/>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6" name="Text Placeholder 14">
            <a:extLst>
              <a:ext uri="{FF2B5EF4-FFF2-40B4-BE49-F238E27FC236}">
                <a16:creationId xmlns:a16="http://schemas.microsoft.com/office/drawing/2014/main" id="{83700D3F-414D-492E-ADEE-DE8CC0B249E9}"/>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0" name="Text Placeholder 14">
            <a:extLst>
              <a:ext uri="{FF2B5EF4-FFF2-40B4-BE49-F238E27FC236}">
                <a16:creationId xmlns:a16="http://schemas.microsoft.com/office/drawing/2014/main" id="{A6CDB0E7-38EF-4CA7-A30D-ED27914F587A}"/>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2" name="Text Placeholder 14">
            <a:extLst>
              <a:ext uri="{FF2B5EF4-FFF2-40B4-BE49-F238E27FC236}">
                <a16:creationId xmlns:a16="http://schemas.microsoft.com/office/drawing/2014/main" id="{8F187370-3173-49CD-8B91-CC3D7A18C26E}"/>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4999BF73-F9F2-4E1D-830C-FDFB628A31F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621728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 Option 3">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3" y="858"/>
            <a:ext cx="12188949"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3" y="858"/>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6A41164-9E02-42F7-95BC-2C9613F1A086}"/>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2</a:t>
            </a:r>
          </a:p>
        </p:txBody>
      </p:sp>
      <p:sp>
        <p:nvSpPr>
          <p:cNvPr id="18" name="Text Placeholder 14">
            <a:extLst>
              <a:ext uri="{FF2B5EF4-FFF2-40B4-BE49-F238E27FC236}">
                <a16:creationId xmlns:a16="http://schemas.microsoft.com/office/drawing/2014/main" id="{E7D0411B-98D2-40EE-A7C9-A6A4CDA8D6AF}"/>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63BFF807-FD44-4F0D-B39A-70F80C78AF66}"/>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31C4B28D-0969-490A-B13C-C8EB39316D59}"/>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AE57C29B-D449-4CC7-B381-424636D9EEB7}"/>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160B9B91-190A-453C-87F6-790E5B769CFF}"/>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74472158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 Option 2">
    <p:spTree>
      <p:nvGrpSpPr>
        <p:cNvPr id="1" name=""/>
        <p:cNvGrpSpPr/>
        <p:nvPr/>
      </p:nvGrpSpPr>
      <p:grpSpPr>
        <a:xfrm>
          <a:off x="0" y="0"/>
          <a:ext cx="0" cy="0"/>
          <a:chOff x="0" y="0"/>
          <a:chExt cx="0" cy="0"/>
        </a:xfrm>
      </p:grpSpPr>
      <p:pic>
        <p:nvPicPr>
          <p:cNvPr id="3" name="Picture Placeholder 14">
            <a:extLst>
              <a:ext uri="{FF2B5EF4-FFF2-40B4-BE49-F238E27FC236}">
                <a16:creationId xmlns:a16="http://schemas.microsoft.com/office/drawing/2014/main" id="{5D53B215-AA36-48DA-ABF5-6638E25CB134}"/>
              </a:ext>
            </a:extLst>
          </p:cNvPr>
          <p:cNvPicPr>
            <a:picLocks noChangeAspect="1"/>
          </p:cNvPicPr>
          <p:nvPr userDrawn="1"/>
        </p:nvPicPr>
        <p:blipFill>
          <a:blip r:embed="rId2"/>
          <a:srcRect/>
          <a:stretch/>
        </p:blipFill>
        <p:spPr>
          <a:xfrm>
            <a:off x="-64" y="858"/>
            <a:ext cx="12188951" cy="6856284"/>
          </a:xfrm>
          <a:prstGeom prst="rect">
            <a:avLst/>
          </a:prstGeom>
        </p:spPr>
      </p:pic>
      <p:sp>
        <p:nvSpPr>
          <p:cNvPr id="4" name="Rectangle 3">
            <a:extLst>
              <a:ext uri="{FF2B5EF4-FFF2-40B4-BE49-F238E27FC236}">
                <a16:creationId xmlns:a16="http://schemas.microsoft.com/office/drawing/2014/main" id="{4A1E744C-6445-4CAA-A70A-4AFD2C28FF90}"/>
              </a:ext>
            </a:extLst>
          </p:cNvPr>
          <p:cNvSpPr/>
          <p:nvPr userDrawn="1"/>
        </p:nvSpPr>
        <p:spPr>
          <a:xfrm>
            <a:off x="-64" y="858"/>
            <a:ext cx="12188952" cy="6858000"/>
          </a:xfrm>
          <a:prstGeom prst="rect">
            <a:avLst/>
          </a:prstGeom>
          <a:solidFill>
            <a:srgbClr val="0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pic>
        <p:nvPicPr>
          <p:cNvPr id="6" name="Graphic 5">
            <a:extLst>
              <a:ext uri="{FF2B5EF4-FFF2-40B4-BE49-F238E27FC236}">
                <a16:creationId xmlns:a16="http://schemas.microsoft.com/office/drawing/2014/main" id="{0BE96169-E7F5-4AD5-A5A0-7AA6025F8A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cxnSp>
        <p:nvCxnSpPr>
          <p:cNvPr id="9" name="Straight Connector 8">
            <a:extLst>
              <a:ext uri="{FF2B5EF4-FFF2-40B4-BE49-F238E27FC236}">
                <a16:creationId xmlns:a16="http://schemas.microsoft.com/office/drawing/2014/main" id="{D9D8B2C0-E99B-4B55-9F29-1634A96FEB93}"/>
              </a:ext>
            </a:extLst>
          </p:cNvPr>
          <p:cNvCxnSpPr/>
          <p:nvPr userDrawn="1"/>
        </p:nvCxnSpPr>
        <p:spPr>
          <a:xfrm>
            <a:off x="5753100" y="255100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Text Placeholder 10">
            <a:extLst>
              <a:ext uri="{FF2B5EF4-FFF2-40B4-BE49-F238E27FC236}">
                <a16:creationId xmlns:a16="http://schemas.microsoft.com/office/drawing/2014/main" id="{99ED853B-3A94-44EA-B306-AED50E58825C}"/>
              </a:ext>
            </a:extLst>
          </p:cNvPr>
          <p:cNvSpPr>
            <a:spLocks noGrp="1"/>
          </p:cNvSpPr>
          <p:nvPr>
            <p:ph type="body" sz="quarter" idx="10" hasCustomPrompt="1"/>
          </p:nvPr>
        </p:nvSpPr>
        <p:spPr>
          <a:xfrm>
            <a:off x="381000" y="637703"/>
            <a:ext cx="11430000" cy="1828800"/>
          </a:xfrm>
          <a:prstGeom prst="rect">
            <a:avLst/>
          </a:prstGeom>
        </p:spPr>
        <p:txBody>
          <a:bodyPr anchor="b"/>
          <a:lstStyle>
            <a:lvl1pPr marL="0" indent="0" algn="ctr">
              <a:lnSpc>
                <a:spcPct val="100000"/>
              </a:lnSpc>
              <a:spcBef>
                <a:spcPts val="300"/>
              </a:spcBef>
              <a:buNone/>
              <a:defRPr sz="66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r>
              <a:rPr lang="en-US" dirty="0"/>
              <a:t>TITLE SLIDE: OPTION 3</a:t>
            </a:r>
          </a:p>
        </p:txBody>
      </p:sp>
      <p:sp>
        <p:nvSpPr>
          <p:cNvPr id="18" name="Text Placeholder 14">
            <a:extLst>
              <a:ext uri="{FF2B5EF4-FFF2-40B4-BE49-F238E27FC236}">
                <a16:creationId xmlns:a16="http://schemas.microsoft.com/office/drawing/2014/main" id="{F73FD31C-CD9C-4CD0-AB2B-DBDD2B326B6B}"/>
              </a:ext>
            </a:extLst>
          </p:cNvPr>
          <p:cNvSpPr>
            <a:spLocks noGrp="1"/>
          </p:cNvSpPr>
          <p:nvPr>
            <p:ph type="body" sz="quarter" idx="11" hasCustomPrompt="1"/>
          </p:nvPr>
        </p:nvSpPr>
        <p:spPr>
          <a:xfrm>
            <a:off x="390525" y="2667283"/>
            <a:ext cx="11420475" cy="641350"/>
          </a:xfrm>
          <a:prstGeom prst="rect">
            <a:avLst/>
          </a:prstGeom>
        </p:spPr>
        <p:txBody>
          <a:bodyPr anchor="ct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MONTH YEAR</a:t>
            </a:r>
          </a:p>
        </p:txBody>
      </p:sp>
      <p:sp>
        <p:nvSpPr>
          <p:cNvPr id="19" name="Text Placeholder 14">
            <a:extLst>
              <a:ext uri="{FF2B5EF4-FFF2-40B4-BE49-F238E27FC236}">
                <a16:creationId xmlns:a16="http://schemas.microsoft.com/office/drawing/2014/main" id="{96044471-19A6-42C7-939C-1CE9DD8B64E7}"/>
              </a:ext>
            </a:extLst>
          </p:cNvPr>
          <p:cNvSpPr>
            <a:spLocks noGrp="1"/>
          </p:cNvSpPr>
          <p:nvPr>
            <p:ph type="body" sz="quarter" idx="12" hasCustomPrompt="1"/>
          </p:nvPr>
        </p:nvSpPr>
        <p:spPr>
          <a:xfrm>
            <a:off x="390331"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0" name="Text Placeholder 14">
            <a:extLst>
              <a:ext uri="{FF2B5EF4-FFF2-40B4-BE49-F238E27FC236}">
                <a16:creationId xmlns:a16="http://schemas.microsoft.com/office/drawing/2014/main" id="{2C35F422-844D-4DC9-9E61-566C7E42E30D}"/>
              </a:ext>
            </a:extLst>
          </p:cNvPr>
          <p:cNvSpPr>
            <a:spLocks noGrp="1"/>
          </p:cNvSpPr>
          <p:nvPr>
            <p:ph type="body" sz="quarter" idx="13" hasCustomPrompt="1"/>
          </p:nvPr>
        </p:nvSpPr>
        <p:spPr>
          <a:xfrm>
            <a:off x="4271962"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21" name="Text Placeholder 14">
            <a:extLst>
              <a:ext uri="{FF2B5EF4-FFF2-40B4-BE49-F238E27FC236}">
                <a16:creationId xmlns:a16="http://schemas.microsoft.com/office/drawing/2014/main" id="{130FA952-5204-419A-9950-05F23E33D226}"/>
              </a:ext>
            </a:extLst>
          </p:cNvPr>
          <p:cNvSpPr>
            <a:spLocks noGrp="1"/>
          </p:cNvSpPr>
          <p:nvPr>
            <p:ph type="body" sz="quarter" idx="14" hasCustomPrompt="1"/>
          </p:nvPr>
        </p:nvSpPr>
        <p:spPr>
          <a:xfrm>
            <a:off x="8153593" y="3888870"/>
            <a:ext cx="3657600" cy="1828800"/>
          </a:xfrm>
          <a:prstGeom prst="rect">
            <a:avLst/>
          </a:prstGeom>
        </p:spPr>
        <p:txBody>
          <a:bodyPr/>
          <a:lstStyle>
            <a:lvl1pPr marL="0" indent="0" algn="ctr">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CONTACT INFORMATION</a:t>
            </a:r>
          </a:p>
        </p:txBody>
      </p:sp>
      <p:sp>
        <p:nvSpPr>
          <p:cNvPr id="13" name="Rectangle 12">
            <a:extLst>
              <a:ext uri="{FF2B5EF4-FFF2-40B4-BE49-F238E27FC236}">
                <a16:creationId xmlns:a16="http://schemas.microsoft.com/office/drawing/2014/main" id="{FD155A0D-4442-44E6-97FB-766EA1DA30E9}"/>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260175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Divider - Option 2">
    <p:spTree>
      <p:nvGrpSpPr>
        <p:cNvPr id="1" name=""/>
        <p:cNvGrpSpPr/>
        <p:nvPr/>
      </p:nvGrpSpPr>
      <p:grpSpPr>
        <a:xfrm>
          <a:off x="0" y="0"/>
          <a:ext cx="0" cy="0"/>
          <a:chOff x="0" y="0"/>
          <a:chExt cx="0" cy="0"/>
        </a:xfrm>
      </p:grpSpPr>
      <p:pic>
        <p:nvPicPr>
          <p:cNvPr id="10" name="Picture Placeholder 14">
            <a:extLst>
              <a:ext uri="{FF2B5EF4-FFF2-40B4-BE49-F238E27FC236}">
                <a16:creationId xmlns:a16="http://schemas.microsoft.com/office/drawing/2014/main" id="{E846CDA9-C38D-48E5-A97E-82EB983FF9C9}"/>
              </a:ext>
            </a:extLst>
          </p:cNvPr>
          <p:cNvPicPr>
            <a:picLocks noChangeAspect="1"/>
          </p:cNvPicPr>
          <p:nvPr userDrawn="1"/>
        </p:nvPicPr>
        <p:blipFill>
          <a:blip r:embed="rId2"/>
          <a:srcRect/>
          <a:stretch/>
        </p:blipFill>
        <p:spPr>
          <a:xfrm>
            <a:off x="-64" y="858"/>
            <a:ext cx="12188951"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2" name="Text Placeholder 10">
            <a:extLst>
              <a:ext uri="{FF2B5EF4-FFF2-40B4-BE49-F238E27FC236}">
                <a16:creationId xmlns:a16="http://schemas.microsoft.com/office/drawing/2014/main" id="{B8F8ED81-D8CD-4CF9-A0BC-D33469B7DFD5}"/>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3" name="Text Placeholder 14">
            <a:extLst>
              <a:ext uri="{FF2B5EF4-FFF2-40B4-BE49-F238E27FC236}">
                <a16:creationId xmlns:a16="http://schemas.microsoft.com/office/drawing/2014/main" id="{CB42D2D6-CF9C-46A1-9C6B-89E10EA059C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2" name="Rectangle 1">
            <a:extLst>
              <a:ext uri="{FF2B5EF4-FFF2-40B4-BE49-F238E27FC236}">
                <a16:creationId xmlns:a16="http://schemas.microsoft.com/office/drawing/2014/main" id="{CC833A08-F242-99A1-92DF-62681E591916}"/>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7288579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pic>
        <p:nvPicPr>
          <p:cNvPr id="9" name="Picture Placeholder 14">
            <a:extLst>
              <a:ext uri="{FF2B5EF4-FFF2-40B4-BE49-F238E27FC236}">
                <a16:creationId xmlns:a16="http://schemas.microsoft.com/office/drawing/2014/main" id="{C8C269CE-FE74-4975-B378-4A4616FBF946}"/>
              </a:ext>
            </a:extLst>
          </p:cNvPr>
          <p:cNvPicPr>
            <a:picLocks noChangeAspect="1"/>
          </p:cNvPicPr>
          <p:nvPr userDrawn="1"/>
        </p:nvPicPr>
        <p:blipFill>
          <a:blip r:embed="rId2"/>
          <a:srcRect/>
          <a:stretch/>
        </p:blipFill>
        <p:spPr>
          <a:xfrm>
            <a:off x="-63" y="858"/>
            <a:ext cx="12188949" cy="6856284"/>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10" name="Text Placeholder 10">
            <a:extLst>
              <a:ext uri="{FF2B5EF4-FFF2-40B4-BE49-F238E27FC236}">
                <a16:creationId xmlns:a16="http://schemas.microsoft.com/office/drawing/2014/main" id="{D32C6B46-3DF6-47EC-B3F2-3060C58593DE}"/>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2</a:t>
            </a:r>
          </a:p>
        </p:txBody>
      </p:sp>
      <p:sp>
        <p:nvSpPr>
          <p:cNvPr id="14" name="Text Placeholder 14">
            <a:extLst>
              <a:ext uri="{FF2B5EF4-FFF2-40B4-BE49-F238E27FC236}">
                <a16:creationId xmlns:a16="http://schemas.microsoft.com/office/drawing/2014/main" id="{D78622D7-967F-4BBD-80F7-7832321EDD7E}"/>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1814E0AC-B81B-4FFF-8CF4-9FA15FC030FB}"/>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61445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11" name="Picture Placeholder 14">
            <a:extLst>
              <a:ext uri="{FF2B5EF4-FFF2-40B4-BE49-F238E27FC236}">
                <a16:creationId xmlns:a16="http://schemas.microsoft.com/office/drawing/2014/main" id="{DBA92C97-7A20-420C-B2A1-1CA5B2E695FB}"/>
              </a:ext>
            </a:extLst>
          </p:cNvPr>
          <p:cNvPicPr>
            <a:picLocks noChangeAspect="1"/>
          </p:cNvPicPr>
          <p:nvPr userDrawn="1"/>
        </p:nvPicPr>
        <p:blipFill>
          <a:blip r:embed="rId2"/>
          <a:srcRect/>
          <a:stretch/>
        </p:blipFill>
        <p:spPr>
          <a:xfrm>
            <a:off x="-64" y="858"/>
            <a:ext cx="12188951" cy="6856285"/>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64"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A656AE5F-187E-4826-A8CB-8F53CA3A3D3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90331" y="6421262"/>
            <a:ext cx="2743200" cy="208825"/>
          </a:xfrm>
          <a:prstGeom prst="rect">
            <a:avLst/>
          </a:prstGeom>
        </p:spPr>
      </p:pic>
      <p:sp>
        <p:nvSpPr>
          <p:cNvPr id="9" name="Text Placeholder 10">
            <a:extLst>
              <a:ext uri="{FF2B5EF4-FFF2-40B4-BE49-F238E27FC236}">
                <a16:creationId xmlns:a16="http://schemas.microsoft.com/office/drawing/2014/main" id="{BD2952BE-546F-44B6-B989-A67A2CD93029}"/>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mn-lt"/>
                <a:ea typeface="Open Sans Light" panose="020B0306030504020204" pitchFamily="34" charset="0"/>
                <a:cs typeface="Open Sans Light" panose="020B03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3</a:t>
            </a:r>
          </a:p>
        </p:txBody>
      </p:sp>
      <p:sp>
        <p:nvSpPr>
          <p:cNvPr id="14" name="Text Placeholder 14">
            <a:extLst>
              <a:ext uri="{FF2B5EF4-FFF2-40B4-BE49-F238E27FC236}">
                <a16:creationId xmlns:a16="http://schemas.microsoft.com/office/drawing/2014/main" id="{9F14CFA6-52B8-4391-8817-5F25D5FB149B}"/>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mn-lt"/>
                <a:ea typeface="Open Sans Light" panose="020B0306030504020204" pitchFamily="34" charset="0"/>
                <a:cs typeface="Open Sans Light" panose="020B03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E458DF5E-DBF8-4770-87A9-17AAEAB78BBA}"/>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7165893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extBox 7">
            <a:extLst>
              <a:ext uri="{FF2B5EF4-FFF2-40B4-BE49-F238E27FC236}">
                <a16:creationId xmlns:a16="http://schemas.microsoft.com/office/drawing/2014/main" id="{8AB1C77E-3414-4616-ADB9-D64EDC212D53}"/>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8944952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Subtitle Only">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5" name="TextBox 7">
            <a:extLst>
              <a:ext uri="{FF2B5EF4-FFF2-40B4-BE49-F238E27FC236}">
                <a16:creationId xmlns:a16="http://schemas.microsoft.com/office/drawing/2014/main" id="{DB81CE39-F44A-4930-BF7D-63EDC9B2DF6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66739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Subtitle Only - No hash mark">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563E04A2-D505-4826-B972-B82E3504E3F5}"/>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31DCBC07-EB41-4EC2-AACC-CFADD652663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4" name="TextBox 7">
            <a:extLst>
              <a:ext uri="{FF2B5EF4-FFF2-40B4-BE49-F238E27FC236}">
                <a16:creationId xmlns:a16="http://schemas.microsoft.com/office/drawing/2014/main" id="{2355CB8C-9D42-4F46-82EC-1E66DC4898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34354343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Subtitle with one column">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Content Placeholder 7">
            <a:extLst>
              <a:ext uri="{FF2B5EF4-FFF2-40B4-BE49-F238E27FC236}">
                <a16:creationId xmlns:a16="http://schemas.microsoft.com/office/drawing/2014/main" id="{1C64D358-3C24-4FDF-B6B2-B09E680334B2}"/>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6" name="Text Placeholder 10">
            <a:extLst>
              <a:ext uri="{FF2B5EF4-FFF2-40B4-BE49-F238E27FC236}">
                <a16:creationId xmlns:a16="http://schemas.microsoft.com/office/drawing/2014/main" id="{0DDEB31F-9812-4AEF-9BC4-F114E4F44AEA}"/>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7" name="Text Placeholder 2">
            <a:extLst>
              <a:ext uri="{FF2B5EF4-FFF2-40B4-BE49-F238E27FC236}">
                <a16:creationId xmlns:a16="http://schemas.microsoft.com/office/drawing/2014/main" id="{C3B3A4EB-F305-4422-8C88-870CCE545DA5}"/>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9" name="TextBox 7">
            <a:extLst>
              <a:ext uri="{FF2B5EF4-FFF2-40B4-BE49-F238E27FC236}">
                <a16:creationId xmlns:a16="http://schemas.microsoft.com/office/drawing/2014/main" id="{BD334408-F23F-41A5-A163-45832F857BB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685237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ection Divider - Option 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677EF2-030B-E3C0-8A86-1A086A5C3426}"/>
              </a:ext>
            </a:extLst>
          </p:cNvPr>
          <p:cNvPicPr>
            <a:picLocks noChangeAspect="1"/>
          </p:cNvPicPr>
          <p:nvPr userDrawn="1"/>
        </p:nvPicPr>
        <p:blipFill>
          <a:blip r:embed="rId2"/>
          <a:stretch>
            <a:fillRect/>
          </a:stretch>
        </p:blipFill>
        <p:spPr>
          <a:xfrm>
            <a:off x="813" y="0"/>
            <a:ext cx="12191187" cy="6858000"/>
          </a:xfrm>
          <a:prstGeom prst="rect">
            <a:avLst/>
          </a:prstGeom>
        </p:spPr>
      </p:pic>
      <p:sp>
        <p:nvSpPr>
          <p:cNvPr id="3" name="Rectangle 2">
            <a:extLst>
              <a:ext uri="{FF2B5EF4-FFF2-40B4-BE49-F238E27FC236}">
                <a16:creationId xmlns:a16="http://schemas.microsoft.com/office/drawing/2014/main" id="{4CE7174C-55E2-4B14-A4CD-8A1B096F0D3F}"/>
              </a:ext>
            </a:extLst>
          </p:cNvPr>
          <p:cNvSpPr/>
          <p:nvPr userDrawn="1"/>
        </p:nvSpPr>
        <p:spPr>
          <a:xfrm>
            <a:off x="813" y="0"/>
            <a:ext cx="12188952"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b="1">
              <a:latin typeface="Open Sans Semibold" charset="0"/>
            </a:endParaRPr>
          </a:p>
        </p:txBody>
      </p:sp>
      <p:cxnSp>
        <p:nvCxnSpPr>
          <p:cNvPr id="6" name="Straight Connector 5">
            <a:extLst>
              <a:ext uri="{FF2B5EF4-FFF2-40B4-BE49-F238E27FC236}">
                <a16:creationId xmlns:a16="http://schemas.microsoft.com/office/drawing/2014/main" id="{09E4ED8B-958A-4FE1-988F-6C7E6FF9F091}"/>
              </a:ext>
            </a:extLst>
          </p:cNvPr>
          <p:cNvCxnSpPr/>
          <p:nvPr userDrawn="1"/>
        </p:nvCxnSpPr>
        <p:spPr>
          <a:xfrm>
            <a:off x="381000" y="3441616"/>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 Placeholder 10">
            <a:extLst>
              <a:ext uri="{FF2B5EF4-FFF2-40B4-BE49-F238E27FC236}">
                <a16:creationId xmlns:a16="http://schemas.microsoft.com/office/drawing/2014/main" id="{88B8554C-FB7F-4460-8A84-226B1816E96C}"/>
              </a:ext>
            </a:extLst>
          </p:cNvPr>
          <p:cNvSpPr>
            <a:spLocks noGrp="1"/>
          </p:cNvSpPr>
          <p:nvPr>
            <p:ph type="body" sz="quarter" idx="12" hasCustomPrompt="1"/>
          </p:nvPr>
        </p:nvSpPr>
        <p:spPr>
          <a:xfrm>
            <a:off x="276354" y="1519238"/>
            <a:ext cx="11430000" cy="1828800"/>
          </a:xfrm>
          <a:prstGeom prst="rect">
            <a:avLst/>
          </a:prstGeom>
        </p:spPr>
        <p:txBody>
          <a:bodyPr anchor="b"/>
          <a:lstStyle>
            <a:lvl1pPr marL="0" indent="0" algn="l">
              <a:lnSpc>
                <a:spcPct val="100000"/>
              </a:lnSpc>
              <a:spcBef>
                <a:spcPts val="300"/>
              </a:spcBef>
              <a:buNone/>
              <a:defRPr sz="600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SECTION DIVIDER OPTION 1</a:t>
            </a:r>
          </a:p>
        </p:txBody>
      </p:sp>
      <p:sp>
        <p:nvSpPr>
          <p:cNvPr id="15" name="Text Placeholder 14">
            <a:extLst>
              <a:ext uri="{FF2B5EF4-FFF2-40B4-BE49-F238E27FC236}">
                <a16:creationId xmlns:a16="http://schemas.microsoft.com/office/drawing/2014/main" id="{0D574784-9D07-4513-AE4D-ACAE3A828D5F}"/>
              </a:ext>
            </a:extLst>
          </p:cNvPr>
          <p:cNvSpPr>
            <a:spLocks noGrp="1"/>
          </p:cNvSpPr>
          <p:nvPr>
            <p:ph type="body" sz="quarter" idx="13" hasCustomPrompt="1"/>
          </p:nvPr>
        </p:nvSpPr>
        <p:spPr>
          <a:xfrm>
            <a:off x="276354" y="3575050"/>
            <a:ext cx="11420475" cy="1097280"/>
          </a:xfrm>
          <a:prstGeom prst="rect">
            <a:avLst/>
          </a:prstGeom>
        </p:spPr>
        <p:txBody>
          <a:bodyPr/>
          <a:lstStyle>
            <a:lvl1pPr marL="0" indent="0" algn="l">
              <a:lnSpc>
                <a:spcPct val="100000"/>
              </a:lnSpc>
              <a:spcBef>
                <a:spcPts val="300"/>
              </a:spcBef>
              <a:buNone/>
              <a:defRPr sz="1400" spc="300"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lnSpc>
                <a:spcPct val="100000"/>
              </a:lnSpc>
              <a:spcBef>
                <a:spcPts val="300"/>
              </a:spcBef>
              <a:buNone/>
              <a:defRPr sz="14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SUBTITLE</a:t>
            </a:r>
          </a:p>
        </p:txBody>
      </p:sp>
      <p:sp>
        <p:nvSpPr>
          <p:cNvPr id="12" name="Rectangle 11">
            <a:extLst>
              <a:ext uri="{FF2B5EF4-FFF2-40B4-BE49-F238E27FC236}">
                <a16:creationId xmlns:a16="http://schemas.microsoft.com/office/drawing/2014/main" id="{29436BFB-18E9-43C6-9F7D-ECCC69D25ED0}"/>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chemeClr val="bg1"/>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Picture 1">
            <a:extLst>
              <a:ext uri="{FF2B5EF4-FFF2-40B4-BE49-F238E27FC236}">
                <a16:creationId xmlns:a16="http://schemas.microsoft.com/office/drawing/2014/main" id="{BA9E2ECA-E04F-7EE7-48BB-9BDE278818ED}"/>
              </a:ext>
            </a:extLst>
          </p:cNvPr>
          <p:cNvPicPr>
            <a:picLocks noChangeAspect="1"/>
          </p:cNvPicPr>
          <p:nvPr userDrawn="1"/>
        </p:nvPicPr>
        <p:blipFill>
          <a:blip r:embed="rId3"/>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36905300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Subtitle with one column - No hash mark">
    <p:spTree>
      <p:nvGrpSpPr>
        <p:cNvPr id="1" name=""/>
        <p:cNvGrpSpPr/>
        <p:nvPr/>
      </p:nvGrpSpPr>
      <p:grpSpPr>
        <a:xfrm>
          <a:off x="0" y="0"/>
          <a:ext cx="0" cy="0"/>
          <a:chOff x="0" y="0"/>
          <a:chExt cx="0" cy="0"/>
        </a:xfrm>
      </p:grpSpPr>
      <p:sp>
        <p:nvSpPr>
          <p:cNvPr id="5" name="Text Placeholder 10">
            <a:extLst>
              <a:ext uri="{FF2B5EF4-FFF2-40B4-BE49-F238E27FC236}">
                <a16:creationId xmlns:a16="http://schemas.microsoft.com/office/drawing/2014/main" id="{9E6E1CA2-79C1-44AA-9FC4-E6D5E7D66008}"/>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6" name="Text Placeholder 2">
            <a:extLst>
              <a:ext uri="{FF2B5EF4-FFF2-40B4-BE49-F238E27FC236}">
                <a16:creationId xmlns:a16="http://schemas.microsoft.com/office/drawing/2014/main" id="{106964BD-D71E-4A3F-B632-C9E03B50902F}"/>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7" name="Content Placeholder 7">
            <a:extLst>
              <a:ext uri="{FF2B5EF4-FFF2-40B4-BE49-F238E27FC236}">
                <a16:creationId xmlns:a16="http://schemas.microsoft.com/office/drawing/2014/main" id="{6909E8B4-0FDA-4BE0-A6B5-B9E776E54545}"/>
              </a:ext>
            </a:extLst>
          </p:cNvPr>
          <p:cNvSpPr>
            <a:spLocks noGrp="1"/>
          </p:cNvSpPr>
          <p:nvPr>
            <p:ph sz="quarter" idx="18"/>
          </p:nvPr>
        </p:nvSpPr>
        <p:spPr>
          <a:xfrm>
            <a:off x="381000" y="1600200"/>
            <a:ext cx="11430000" cy="4538663"/>
          </a:xfrm>
          <a:prstGeom prst="rect">
            <a:avLst/>
          </a:prstGeom>
        </p:spPr>
        <p:txBody>
          <a:bodyPr/>
          <a:lstStyle>
            <a:lvl1pPr marL="344488" indent="-344488">
              <a:buClr>
                <a:schemeClr val="accent1"/>
              </a:buCl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a:defRPr>
                <a:latin typeface="Open Sans Light" panose="020B0306030504020204" pitchFamily="34" charset="0"/>
                <a:ea typeface="Open Sans Light" panose="020B0306030504020204" pitchFamily="34" charset="0"/>
                <a:cs typeface="Open Sans Light" panose="020B0306030504020204" pitchFamily="34" charset="0"/>
              </a:defRPr>
            </a:lvl4pPr>
            <a:lvl5pPr>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Box 7">
            <a:extLst>
              <a:ext uri="{FF2B5EF4-FFF2-40B4-BE49-F238E27FC236}">
                <a16:creationId xmlns:a16="http://schemas.microsoft.com/office/drawing/2014/main" id="{7B85B167-FB62-46A9-AA57-2DD08B356ED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6427692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Subtitle with two columns">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0AEB42C9-BCA8-4AE5-94D4-CCE3D60C2C6C}"/>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2C09B96E-3451-421E-95E1-D05A669ACB25}"/>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8" name="Text Placeholder 2">
            <a:extLst>
              <a:ext uri="{FF2B5EF4-FFF2-40B4-BE49-F238E27FC236}">
                <a16:creationId xmlns:a16="http://schemas.microsoft.com/office/drawing/2014/main" id="{30415576-692A-4B5B-B3EC-DAD4F07E7541}"/>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9" name="Text Placeholder 10">
            <a:extLst>
              <a:ext uri="{FF2B5EF4-FFF2-40B4-BE49-F238E27FC236}">
                <a16:creationId xmlns:a16="http://schemas.microsoft.com/office/drawing/2014/main" id="{85BFC132-57B9-42E2-BA12-31465A62946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0" name="Text Placeholder 2">
            <a:extLst>
              <a:ext uri="{FF2B5EF4-FFF2-40B4-BE49-F238E27FC236}">
                <a16:creationId xmlns:a16="http://schemas.microsoft.com/office/drawing/2014/main" id="{945CB1CF-317F-47A9-8053-F75230B126FB}"/>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1" name="TextBox 7">
            <a:extLst>
              <a:ext uri="{FF2B5EF4-FFF2-40B4-BE49-F238E27FC236}">
                <a16:creationId xmlns:a16="http://schemas.microsoft.com/office/drawing/2014/main" id="{6C21E214-53D6-4916-B77A-B291A2BBF354}"/>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3851811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Subtitle with two columns - No hash mark">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C470888C-046E-444E-9E59-31BC29B30B43}"/>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9" name="Text Placeholder 2">
            <a:extLst>
              <a:ext uri="{FF2B5EF4-FFF2-40B4-BE49-F238E27FC236}">
                <a16:creationId xmlns:a16="http://schemas.microsoft.com/office/drawing/2014/main" id="{69378B1D-0275-4D38-B4ED-AA70E6BD6652}"/>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0" name="Text Placeholder 2">
            <a:extLst>
              <a:ext uri="{FF2B5EF4-FFF2-40B4-BE49-F238E27FC236}">
                <a16:creationId xmlns:a16="http://schemas.microsoft.com/office/drawing/2014/main" id="{95903ABA-BB0D-46C1-A585-F9B3FBD8B0D8}"/>
              </a:ext>
            </a:extLst>
          </p:cNvPr>
          <p:cNvSpPr>
            <a:spLocks noGrp="1"/>
          </p:cNvSpPr>
          <p:nvPr>
            <p:ph type="body" sz="quarter" idx="17"/>
          </p:nvPr>
        </p:nvSpPr>
        <p:spPr>
          <a:xfrm>
            <a:off x="381000" y="1600200"/>
            <a:ext cx="5486400" cy="4538663"/>
          </a:xfrm>
          <a:prstGeom prst="rect">
            <a:avLst/>
          </a:prstGeom>
        </p:spPr>
        <p:txBody>
          <a:bodyPr/>
          <a:lstStyle>
            <a:lvl1pPr marL="344488" indent="-344488">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Text Placeholder 2">
            <a:extLst>
              <a:ext uri="{FF2B5EF4-FFF2-40B4-BE49-F238E27FC236}">
                <a16:creationId xmlns:a16="http://schemas.microsoft.com/office/drawing/2014/main" id="{F984307E-FDAC-4ACF-AF2D-5C61ED6D22BB}"/>
              </a:ext>
            </a:extLst>
          </p:cNvPr>
          <p:cNvSpPr>
            <a:spLocks noGrp="1"/>
          </p:cNvSpPr>
          <p:nvPr>
            <p:ph type="body" sz="quarter" idx="18"/>
          </p:nvPr>
        </p:nvSpPr>
        <p:spPr>
          <a:xfrm>
            <a:off x="6333931" y="1600200"/>
            <a:ext cx="5486400" cy="4538663"/>
          </a:xfrm>
          <a:prstGeom prst="rect">
            <a:avLst/>
          </a:prstGeom>
        </p:spPr>
        <p:txBody>
          <a:bodyPr/>
          <a:lstStyle>
            <a:lvl1pPr marL="342900" indent="-342900">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7" name="TextBox 7">
            <a:extLst>
              <a:ext uri="{FF2B5EF4-FFF2-40B4-BE49-F238E27FC236}">
                <a16:creationId xmlns:a16="http://schemas.microsoft.com/office/drawing/2014/main" id="{C87EAEFD-8A78-4284-8BCF-C082292B20BC}"/>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9406474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_Overview with image on righ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716280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3" name="Text Placeholder 4">
            <a:extLst>
              <a:ext uri="{FF2B5EF4-FFF2-40B4-BE49-F238E27FC236}">
                <a16:creationId xmlns:a16="http://schemas.microsoft.com/office/drawing/2014/main" id="{C079C69E-038F-4202-9D8F-42617FBA0C13}"/>
              </a:ext>
            </a:extLst>
          </p:cNvPr>
          <p:cNvSpPr>
            <a:spLocks noGrp="1"/>
          </p:cNvSpPr>
          <p:nvPr>
            <p:ph type="body" sz="quarter" idx="61"/>
          </p:nvPr>
        </p:nvSpPr>
        <p:spPr>
          <a:xfrm>
            <a:off x="393442"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ADBE6524-3BC5-43DF-AA3E-BCDB1560C18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17718213"/>
      </p:ext>
    </p:extLst>
  </p:cSld>
  <p:clrMapOvr>
    <a:masterClrMapping/>
  </p:clrMapOv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Overview with image on left">
    <p:spTree>
      <p:nvGrpSpPr>
        <p:cNvPr id="1" name=""/>
        <p:cNvGrpSpPr/>
        <p:nvPr/>
      </p:nvGrpSpPr>
      <p:grpSpPr>
        <a:xfrm>
          <a:off x="0" y="0"/>
          <a:ext cx="0" cy="0"/>
          <a:chOff x="0" y="0"/>
          <a:chExt cx="0" cy="0"/>
        </a:xfrm>
      </p:grpSpPr>
      <p:sp>
        <p:nvSpPr>
          <p:cNvPr id="6" name="Picture Placeholder 13"/>
          <p:cNvSpPr>
            <a:spLocks noGrp="1"/>
          </p:cNvSpPr>
          <p:nvPr>
            <p:ph type="pic" sz="quarter" idx="60"/>
          </p:nvPr>
        </p:nvSpPr>
        <p:spPr>
          <a:xfrm>
            <a:off x="0" y="0"/>
            <a:ext cx="5029200" cy="6858000"/>
          </a:xfrm>
          <a:prstGeom prst="rect">
            <a:avLst/>
          </a:prstGeom>
          <a:solidFill>
            <a:schemeClr val="bg1">
              <a:lumMod val="95000"/>
            </a:schemeClr>
          </a:solidFill>
          <a:effectLst/>
        </p:spPr>
        <p:txBody>
          <a:bodyPr anchor="ctr">
            <a:normAutofit/>
          </a:bodyPr>
          <a:lstStyle>
            <a:lvl1pPr marL="0" indent="0" algn="ctr">
              <a:buNone/>
              <a:defRPr sz="1300" b="1" i="0">
                <a:ln>
                  <a:noFill/>
                </a:ln>
                <a:solidFill>
                  <a:schemeClr val="bg1">
                    <a:lumMod val="75000"/>
                  </a:schemeClr>
                </a:solidFill>
                <a:latin typeface="Open Sans Semibold" charset="0"/>
                <a:ea typeface="Open Sans Semibold" charset="0"/>
                <a:cs typeface="Open Sans Semibold" charset="0"/>
              </a:defRPr>
            </a:lvl1pPr>
          </a:lstStyle>
          <a:p>
            <a:endParaRPr lang="en-US" dirty="0"/>
          </a:p>
        </p:txBody>
      </p:sp>
      <p:sp>
        <p:nvSpPr>
          <p:cNvPr id="5" name="Text Placeholder 4">
            <a:extLst>
              <a:ext uri="{FF2B5EF4-FFF2-40B4-BE49-F238E27FC236}">
                <a16:creationId xmlns:a16="http://schemas.microsoft.com/office/drawing/2014/main" id="{01E12518-4D6C-4905-AE71-DB10832E6257}"/>
              </a:ext>
            </a:extLst>
          </p:cNvPr>
          <p:cNvSpPr>
            <a:spLocks noGrp="1"/>
          </p:cNvSpPr>
          <p:nvPr>
            <p:ph type="body" sz="quarter" idx="61"/>
          </p:nvPr>
        </p:nvSpPr>
        <p:spPr>
          <a:xfrm>
            <a:off x="5410200" y="628650"/>
            <a:ext cx="64008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4" name="TextBox 7">
            <a:extLst>
              <a:ext uri="{FF2B5EF4-FFF2-40B4-BE49-F238E27FC236}">
                <a16:creationId xmlns:a16="http://schemas.microsoft.com/office/drawing/2014/main" id="{9F3BC239-D05E-4900-A52D-214658C97D58}"/>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96984685"/>
      </p:ext>
    </p:extLst>
  </p:cSld>
  <p:clrMapOvr>
    <a:masterClrMapping/>
  </p:clrMapOv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Subtitle Left Arrow - One column">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026148C1-F56C-4733-95D5-44651A2C9B69}"/>
              </a:ext>
            </a:extLst>
          </p:cNvPr>
          <p:cNvGrpSpPr/>
          <p:nvPr userDrawn="1"/>
        </p:nvGrpSpPr>
        <p:grpSpPr>
          <a:xfrm>
            <a:off x="1"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155895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30165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30165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4953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0" name="TextBox 7">
            <a:extLst>
              <a:ext uri="{FF2B5EF4-FFF2-40B4-BE49-F238E27FC236}">
                <a16:creationId xmlns:a16="http://schemas.microsoft.com/office/drawing/2014/main" id="{2734946C-A4ED-40BE-9016-D51DF99D6FBF}"/>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717261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Subtitle Right Arrow - One column">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3871C5A8-BF00-4218-8472-981FFC28BD65}"/>
              </a:ext>
            </a:extLst>
          </p:cNvPr>
          <p:cNvGrpSpPr/>
          <p:nvPr userDrawn="1"/>
        </p:nvGrpSpPr>
        <p:grpSpPr>
          <a:xfrm>
            <a:off x="7892272" y="0"/>
            <a:ext cx="4299728" cy="6858000"/>
            <a:chOff x="7892272" y="0"/>
            <a:chExt cx="4299728" cy="6858000"/>
          </a:xfrm>
        </p:grpSpPr>
        <p:sp>
          <p:nvSpPr>
            <p:cNvPr id="3" name="Rectangle 2">
              <a:extLst>
                <a:ext uri="{FF2B5EF4-FFF2-40B4-BE49-F238E27FC236}">
                  <a16:creationId xmlns:a16="http://schemas.microsoft.com/office/drawing/2014/main" id="{662A5C94-8B2E-4F87-A64D-A44FF3BA6F39}"/>
                </a:ext>
              </a:extLst>
            </p:cNvPr>
            <p:cNvSpPr/>
            <p:nvPr userDrawn="1"/>
          </p:nvSpPr>
          <p:spPr>
            <a:xfrm>
              <a:off x="8610600" y="6476214"/>
              <a:ext cx="571107" cy="216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26148C1-F56C-4733-95D5-44651A2C9B69}"/>
                </a:ext>
              </a:extLst>
            </p:cNvPr>
            <p:cNvGrpSpPr/>
            <p:nvPr userDrawn="1"/>
          </p:nvGrpSpPr>
          <p:grpSpPr>
            <a:xfrm flipH="1">
              <a:off x="7892272" y="0"/>
              <a:ext cx="4299728" cy="6858000"/>
              <a:chOff x="1" y="0"/>
              <a:chExt cx="4299728" cy="6858000"/>
            </a:xfrm>
          </p:grpSpPr>
          <p:sp>
            <p:nvSpPr>
              <p:cNvPr id="11" name="Flowchart: Decision 10">
                <a:extLst>
                  <a:ext uri="{FF2B5EF4-FFF2-40B4-BE49-F238E27FC236}">
                    <a16:creationId xmlns:a16="http://schemas.microsoft.com/office/drawing/2014/main" id="{A5229459-EADE-4E51-917A-B531C7F529DC}"/>
                  </a:ext>
                </a:extLst>
              </p:cNvPr>
              <p:cNvSpPr/>
              <p:nvPr/>
            </p:nvSpPr>
            <p:spPr>
              <a:xfrm>
                <a:off x="2101072" y="0"/>
                <a:ext cx="2198657" cy="6858000"/>
              </a:xfrm>
              <a:prstGeom prst="flowChartDecision">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 name="Rectangle 1">
                <a:extLst>
                  <a:ext uri="{FF2B5EF4-FFF2-40B4-BE49-F238E27FC236}">
                    <a16:creationId xmlns:a16="http://schemas.microsoft.com/office/drawing/2014/main" id="{0B99478B-85B0-4C3D-AAA8-830F002E3777}"/>
                  </a:ext>
                </a:extLst>
              </p:cNvPr>
              <p:cNvSpPr/>
              <p:nvPr/>
            </p:nvSpPr>
            <p:spPr>
              <a:xfrm>
                <a:off x="1" y="0"/>
                <a:ext cx="3200400" cy="6858000"/>
              </a:xfrm>
              <a:prstGeom prst="rect">
                <a:avLst/>
              </a:prstGeom>
              <a:solidFill>
                <a:schemeClr val="accent5"/>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grpSp>
      </p:grpSp>
      <p:cxnSp>
        <p:nvCxnSpPr>
          <p:cNvPr id="9" name="Straight Connector 8">
            <a:extLst>
              <a:ext uri="{FF2B5EF4-FFF2-40B4-BE49-F238E27FC236}">
                <a16:creationId xmlns:a16="http://schemas.microsoft.com/office/drawing/2014/main" id="{CCCB2E93-48E4-4B80-AA7F-1D01F019B74E}"/>
              </a:ext>
            </a:extLst>
          </p:cNvPr>
          <p:cNvCxnSpPr>
            <a:cxnSpLocks/>
          </p:cNvCxnSpPr>
          <p:nvPr userDrawn="1"/>
        </p:nvCxnSpPr>
        <p:spPr>
          <a:xfrm>
            <a:off x="9867900" y="4088805"/>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6BB985FC-F556-4C67-B299-0B421183F2D7}"/>
              </a:ext>
            </a:extLst>
          </p:cNvPr>
          <p:cNvSpPr>
            <a:spLocks noGrp="1"/>
          </p:cNvSpPr>
          <p:nvPr>
            <p:ph type="body" sz="quarter" idx="10" hasCustomPrompt="1"/>
          </p:nvPr>
        </p:nvSpPr>
        <p:spPr>
          <a:xfrm>
            <a:off x="8610600" y="2574925"/>
            <a:ext cx="3200400" cy="854075"/>
          </a:xfrm>
          <a:prstGeom prst="rect">
            <a:avLst/>
          </a:prstGeom>
        </p:spPr>
        <p:txBody>
          <a:bodyPr anchor="ctr"/>
          <a:lstStyle>
            <a:lvl1pPr marL="0" indent="0" algn="ctr">
              <a:lnSpc>
                <a:spcPct val="100000"/>
              </a:lnSpc>
              <a:spcBef>
                <a:spcPts val="0"/>
              </a:spcBef>
              <a:buNone/>
              <a:defRPr sz="340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TITLE</a:t>
            </a:r>
          </a:p>
        </p:txBody>
      </p:sp>
      <p:sp>
        <p:nvSpPr>
          <p:cNvPr id="15" name="Text Placeholder 14">
            <a:extLst>
              <a:ext uri="{FF2B5EF4-FFF2-40B4-BE49-F238E27FC236}">
                <a16:creationId xmlns:a16="http://schemas.microsoft.com/office/drawing/2014/main" id="{4A963272-AB87-4ECB-9050-B165DE1CA693}"/>
              </a:ext>
            </a:extLst>
          </p:cNvPr>
          <p:cNvSpPr>
            <a:spLocks noGrp="1"/>
          </p:cNvSpPr>
          <p:nvPr>
            <p:ph type="body" sz="quarter" idx="11" hasCustomPrompt="1"/>
          </p:nvPr>
        </p:nvSpPr>
        <p:spPr>
          <a:xfrm>
            <a:off x="8610600" y="3561503"/>
            <a:ext cx="3200400" cy="414338"/>
          </a:xfrm>
          <a:prstGeom prst="rect">
            <a:avLst/>
          </a:prstGeom>
        </p:spPr>
        <p:txBody>
          <a:bodyPr anchor="ctr"/>
          <a:lstStyle>
            <a:lvl1pPr marL="0" indent="0" algn="ctr">
              <a:lnSpc>
                <a:spcPct val="100000"/>
              </a:lnSpc>
              <a:spcBef>
                <a:spcPts val="0"/>
              </a:spcBef>
              <a:buNone/>
              <a:defRPr sz="1200" spc="300" baseline="0">
                <a:solidFill>
                  <a:schemeClr val="bg1"/>
                </a:solidFill>
                <a:latin typeface="+mn-lt"/>
                <a:ea typeface="Open Sans Light" panose="020B0306030504020204" pitchFamily="34" charset="0"/>
                <a:cs typeface="Open Sans Light" panose="020B0306030504020204" pitchFamily="34" charset="0"/>
              </a:defRPr>
            </a:lvl1pPr>
            <a:lvl2pPr marL="4572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a:solidFill>
                  <a:schemeClr val="bg1"/>
                </a:solidFill>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SUBTITLE</a:t>
            </a:r>
          </a:p>
        </p:txBody>
      </p:sp>
      <p:sp>
        <p:nvSpPr>
          <p:cNvPr id="16" name="Text Placeholder 4">
            <a:extLst>
              <a:ext uri="{FF2B5EF4-FFF2-40B4-BE49-F238E27FC236}">
                <a16:creationId xmlns:a16="http://schemas.microsoft.com/office/drawing/2014/main" id="{D2C21E9B-3A63-49C7-83E6-A3109D4F3125}"/>
              </a:ext>
            </a:extLst>
          </p:cNvPr>
          <p:cNvSpPr>
            <a:spLocks noGrp="1"/>
          </p:cNvSpPr>
          <p:nvPr>
            <p:ph type="body" sz="quarter" idx="61"/>
          </p:nvPr>
        </p:nvSpPr>
        <p:spPr>
          <a:xfrm>
            <a:off x="381000" y="628650"/>
            <a:ext cx="6858000" cy="5486400"/>
          </a:xfrm>
          <a:prstGeom prst="rect">
            <a:avLst/>
          </a:prstGeom>
        </p:spPr>
        <p:txBody>
          <a:bodyPr>
            <a:normAutofit/>
          </a:bodyPr>
          <a:lstStyle>
            <a:lvl1pPr marL="342900" indent="-342900">
              <a:lnSpc>
                <a:spcPct val="100000"/>
              </a:lnSpc>
              <a:spcBef>
                <a:spcPts val="300"/>
              </a:spcBef>
              <a:buClr>
                <a:schemeClr val="accent1"/>
              </a:buClr>
              <a:buFont typeface="Arial" panose="020B0604020202020204" pitchFamily="34" charset="0"/>
              <a:buChar char="•"/>
              <a:defRPr sz="2000">
                <a:latin typeface="+mn-lt"/>
                <a:ea typeface="Open Sans Light" panose="020B0306030504020204" pitchFamily="34" charset="0"/>
                <a:cs typeface="Open Sans Light" panose="020B0306030504020204" pitchFamily="34" charset="0"/>
              </a:defRPr>
            </a:lvl1pPr>
            <a:lvl2pPr marL="687388" indent="-342900">
              <a:buClr>
                <a:schemeClr val="accent1"/>
              </a:buClr>
              <a:buFont typeface="Calibri" panose="020F0502020204030204" pitchFamily="34" charset="0"/>
              <a:buChar char="–"/>
              <a:defRPr sz="2000">
                <a:latin typeface="+mn-lt"/>
                <a:ea typeface="Open Sans Light" panose="020B0306030504020204" pitchFamily="34" charset="0"/>
                <a:cs typeface="Open Sans Light" panose="020B0306030504020204" pitchFamily="34" charset="0"/>
              </a:defRPr>
            </a:lvl2pPr>
            <a:lvl3pPr marL="1031875" indent="-344488">
              <a:buClr>
                <a:schemeClr val="accent1"/>
              </a:buClr>
              <a:buFont typeface="Wingdings" panose="05000000000000000000" pitchFamily="2" charset="2"/>
              <a:buChar char="§"/>
              <a:defRPr sz="2000">
                <a:latin typeface="+mn-lt"/>
                <a:ea typeface="Open Sans Light" panose="020B0306030504020204" pitchFamily="34" charset="0"/>
                <a:cs typeface="Open Sans Light" panose="020B0306030504020204" pitchFamily="34" charset="0"/>
              </a:defRPr>
            </a:lvl3pPr>
            <a:lvl4pPr marL="13716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extBox 7">
            <a:extLst>
              <a:ext uri="{FF2B5EF4-FFF2-40B4-BE49-F238E27FC236}">
                <a16:creationId xmlns:a16="http://schemas.microsoft.com/office/drawing/2014/main" id="{01643D19-1DA1-4AD1-9568-F3978E0B7C2B}"/>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5130953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our attorney team">
    <p:spTree>
      <p:nvGrpSpPr>
        <p:cNvPr id="1" name=""/>
        <p:cNvGrpSpPr/>
        <p:nvPr/>
      </p:nvGrpSpPr>
      <p:grpSpPr>
        <a:xfrm>
          <a:off x="0" y="0"/>
          <a:ext cx="0" cy="0"/>
          <a:chOff x="0" y="0"/>
          <a:chExt cx="0" cy="0"/>
        </a:xfrm>
      </p:grpSpPr>
      <p:sp>
        <p:nvSpPr>
          <p:cNvPr id="20" name="Picture Placeholder 7">
            <a:extLst>
              <a:ext uri="{FF2B5EF4-FFF2-40B4-BE49-F238E27FC236}">
                <a16:creationId xmlns:a16="http://schemas.microsoft.com/office/drawing/2014/main" id="{ADE59870-FA01-4917-A7F1-7ED22B21E64B}"/>
              </a:ext>
            </a:extLst>
          </p:cNvPr>
          <p:cNvSpPr>
            <a:spLocks noGrp="1"/>
          </p:cNvSpPr>
          <p:nvPr>
            <p:ph type="pic" sz="quarter" idx="68"/>
          </p:nvPr>
        </p:nvSpPr>
        <p:spPr>
          <a:xfrm>
            <a:off x="1076228"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1" name="Text Placeholder 27">
            <a:extLst>
              <a:ext uri="{FF2B5EF4-FFF2-40B4-BE49-F238E27FC236}">
                <a16:creationId xmlns:a16="http://schemas.microsoft.com/office/drawing/2014/main" id="{97A26C40-36F9-4050-A037-AAA9AF17AFAC}"/>
              </a:ext>
            </a:extLst>
          </p:cNvPr>
          <p:cNvSpPr>
            <a:spLocks noGrp="1"/>
          </p:cNvSpPr>
          <p:nvPr>
            <p:ph type="body" sz="quarter" idx="28" hasCustomPrompt="1"/>
          </p:nvPr>
        </p:nvSpPr>
        <p:spPr>
          <a:xfrm>
            <a:off x="390428"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2" name="Text Placeholder 27">
            <a:extLst>
              <a:ext uri="{FF2B5EF4-FFF2-40B4-BE49-F238E27FC236}">
                <a16:creationId xmlns:a16="http://schemas.microsoft.com/office/drawing/2014/main" id="{F426880D-0B8A-4915-B6F2-A2AC69254AF3}"/>
              </a:ext>
            </a:extLst>
          </p:cNvPr>
          <p:cNvSpPr>
            <a:spLocks noGrp="1"/>
          </p:cNvSpPr>
          <p:nvPr>
            <p:ph type="body" sz="quarter" idx="29" hasCustomPrompt="1"/>
          </p:nvPr>
        </p:nvSpPr>
        <p:spPr>
          <a:xfrm>
            <a:off x="3279321"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3" name="Text Placeholder 27">
            <a:extLst>
              <a:ext uri="{FF2B5EF4-FFF2-40B4-BE49-F238E27FC236}">
                <a16:creationId xmlns:a16="http://schemas.microsoft.com/office/drawing/2014/main" id="{9911E403-AFBC-4E75-A8D4-47C8627097FE}"/>
              </a:ext>
            </a:extLst>
          </p:cNvPr>
          <p:cNvSpPr>
            <a:spLocks noGrp="1"/>
          </p:cNvSpPr>
          <p:nvPr>
            <p:ph type="body" sz="quarter" idx="30" hasCustomPrompt="1"/>
          </p:nvPr>
        </p:nvSpPr>
        <p:spPr>
          <a:xfrm>
            <a:off x="6168117"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4" name="Text Placeholder 27">
            <a:extLst>
              <a:ext uri="{FF2B5EF4-FFF2-40B4-BE49-F238E27FC236}">
                <a16:creationId xmlns:a16="http://schemas.microsoft.com/office/drawing/2014/main" id="{5257D8A0-3473-499A-9B83-A493336CF7FB}"/>
              </a:ext>
            </a:extLst>
          </p:cNvPr>
          <p:cNvSpPr>
            <a:spLocks noGrp="1"/>
          </p:cNvSpPr>
          <p:nvPr>
            <p:ph type="body" sz="quarter" idx="31" hasCustomPrompt="1"/>
          </p:nvPr>
        </p:nvSpPr>
        <p:spPr>
          <a:xfrm>
            <a:off x="9056914" y="3107545"/>
            <a:ext cx="2743200" cy="320040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attorney name, title, office, phone and email</a:t>
            </a:r>
          </a:p>
        </p:txBody>
      </p:sp>
      <p:sp>
        <p:nvSpPr>
          <p:cNvPr id="25" name="Picture Placeholder 7">
            <a:extLst>
              <a:ext uri="{FF2B5EF4-FFF2-40B4-BE49-F238E27FC236}">
                <a16:creationId xmlns:a16="http://schemas.microsoft.com/office/drawing/2014/main" id="{A8935422-98DE-4953-81B9-EEAD81C741BB}"/>
              </a:ext>
            </a:extLst>
          </p:cNvPr>
          <p:cNvSpPr>
            <a:spLocks noGrp="1"/>
          </p:cNvSpPr>
          <p:nvPr>
            <p:ph type="pic" sz="quarter" idx="69"/>
          </p:nvPr>
        </p:nvSpPr>
        <p:spPr>
          <a:xfrm>
            <a:off x="3965057"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6" name="Picture Placeholder 7">
            <a:extLst>
              <a:ext uri="{FF2B5EF4-FFF2-40B4-BE49-F238E27FC236}">
                <a16:creationId xmlns:a16="http://schemas.microsoft.com/office/drawing/2014/main" id="{685D4BDA-3A30-439A-B3EA-1CFCC97F6580}"/>
              </a:ext>
            </a:extLst>
          </p:cNvPr>
          <p:cNvSpPr>
            <a:spLocks noGrp="1"/>
          </p:cNvSpPr>
          <p:nvPr>
            <p:ph type="pic" sz="quarter" idx="70"/>
          </p:nvPr>
        </p:nvSpPr>
        <p:spPr>
          <a:xfrm>
            <a:off x="6853886"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sp>
        <p:nvSpPr>
          <p:cNvPr id="27" name="Picture Placeholder 7">
            <a:extLst>
              <a:ext uri="{FF2B5EF4-FFF2-40B4-BE49-F238E27FC236}">
                <a16:creationId xmlns:a16="http://schemas.microsoft.com/office/drawing/2014/main" id="{A00DF56A-B640-4D0B-8148-92BAAC6C07BC}"/>
              </a:ext>
            </a:extLst>
          </p:cNvPr>
          <p:cNvSpPr>
            <a:spLocks noGrp="1"/>
          </p:cNvSpPr>
          <p:nvPr>
            <p:ph type="pic" sz="quarter" idx="71"/>
          </p:nvPr>
        </p:nvSpPr>
        <p:spPr>
          <a:xfrm>
            <a:off x="9742714" y="1616304"/>
            <a:ext cx="1371600" cy="1371600"/>
          </a:xfrm>
          <a:prstGeom prst="ellipse">
            <a:avLst/>
          </a:prstGeom>
          <a:solidFill>
            <a:schemeClr val="bg1">
              <a:lumMod val="95000"/>
            </a:schemeClr>
          </a:solidFill>
          <a:effectLst/>
        </p:spPr>
        <p:txBody>
          <a:bodyPr wrap="square" anchor="ctr">
            <a:noAutofit/>
          </a:bodyPr>
          <a:lstStyle>
            <a:lvl1pPr marL="0" indent="0" algn="ctr">
              <a:buNone/>
              <a:defRPr sz="1300" b="1" i="0">
                <a:ln>
                  <a:noFill/>
                </a:ln>
                <a:solidFill>
                  <a:schemeClr val="bg1">
                    <a:lumMod val="85000"/>
                  </a:schemeClr>
                </a:solidFill>
                <a:latin typeface="Open Sans Semibold" charset="0"/>
                <a:ea typeface="Open Sans Semibold" charset="0"/>
                <a:cs typeface="Open Sans Semibold" charset="0"/>
              </a:defRPr>
            </a:lvl1pPr>
          </a:lstStyle>
          <a:p>
            <a:endParaRPr lang="en-US" dirty="0"/>
          </a:p>
        </p:txBody>
      </p:sp>
      <p:cxnSp>
        <p:nvCxnSpPr>
          <p:cNvPr id="19" name="Straight Connector 18">
            <a:extLst>
              <a:ext uri="{FF2B5EF4-FFF2-40B4-BE49-F238E27FC236}">
                <a16:creationId xmlns:a16="http://schemas.microsoft.com/office/drawing/2014/main" id="{711843B2-8C8F-44A3-BBD8-2EBE1DA50BA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6594DC06-EADF-4EE8-87CA-970BD5752164}"/>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BA5FA02D-1D01-4717-8A07-0FE4B04C382A}"/>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C62D920C-6A3D-4F82-982A-01E2AB9EB655}"/>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8018938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ix Rep Matters">
    <p:spTree>
      <p:nvGrpSpPr>
        <p:cNvPr id="1" name=""/>
        <p:cNvGrpSpPr/>
        <p:nvPr/>
      </p:nvGrpSpPr>
      <p:grpSpPr>
        <a:xfrm>
          <a:off x="0" y="0"/>
          <a:ext cx="0" cy="0"/>
          <a:chOff x="0" y="0"/>
          <a:chExt cx="0" cy="0"/>
        </a:xfrm>
      </p:grpSpPr>
      <p:sp>
        <p:nvSpPr>
          <p:cNvPr id="38" name="Picture Placeholder 37">
            <a:extLst>
              <a:ext uri="{FF2B5EF4-FFF2-40B4-BE49-F238E27FC236}">
                <a16:creationId xmlns:a16="http://schemas.microsoft.com/office/drawing/2014/main" id="{39C3241E-0248-4FD0-A411-E8D8CEB18769}"/>
              </a:ext>
            </a:extLst>
          </p:cNvPr>
          <p:cNvSpPr>
            <a:spLocks noGrp="1"/>
          </p:cNvSpPr>
          <p:nvPr>
            <p:ph type="pic" sz="quarter" idx="11" hasCustomPrompt="1"/>
          </p:nvPr>
        </p:nvSpPr>
        <p:spPr>
          <a:xfrm>
            <a:off x="390331" y="1617952"/>
            <a:ext cx="3657600" cy="1005840"/>
          </a:xfrm>
          <a:prstGeom prst="rect">
            <a:avLst/>
          </a:prstGeom>
          <a:solidFill>
            <a:schemeClr val="bg1">
              <a:lumMod val="95000"/>
            </a:schemeClr>
          </a:solidFill>
        </p:spPr>
        <p:txBody>
          <a:bodyPr anchor="ctr"/>
          <a:lstStyle>
            <a:lvl1pPr marL="0" indent="0" algn="ctr">
              <a:buNone/>
              <a:defRPr sz="2400">
                <a:solidFill>
                  <a:schemeClr val="bg1">
                    <a:lumMod val="75000"/>
                  </a:schemeClr>
                </a:solidFill>
              </a:defRPr>
            </a:lvl1pPr>
          </a:lstStyle>
          <a:p>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5" name="Picture Placeholder 37">
            <a:extLst>
              <a:ext uri="{FF2B5EF4-FFF2-40B4-BE49-F238E27FC236}">
                <a16:creationId xmlns:a16="http://schemas.microsoft.com/office/drawing/2014/main" id="{F94DD322-BCC5-4552-91D7-9824DCBC8750}"/>
              </a:ext>
            </a:extLst>
          </p:cNvPr>
          <p:cNvSpPr>
            <a:spLocks noGrp="1"/>
          </p:cNvSpPr>
          <p:nvPr>
            <p:ph type="pic" sz="quarter" idx="17" hasCustomPrompt="1"/>
          </p:nvPr>
        </p:nvSpPr>
        <p:spPr>
          <a:xfrm>
            <a:off x="42765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17" name="Picture Placeholder 37">
            <a:extLst>
              <a:ext uri="{FF2B5EF4-FFF2-40B4-BE49-F238E27FC236}">
                <a16:creationId xmlns:a16="http://schemas.microsoft.com/office/drawing/2014/main" id="{38849EE0-04FA-45BB-B7D7-DF5BC2E7A74C}"/>
              </a:ext>
            </a:extLst>
          </p:cNvPr>
          <p:cNvSpPr>
            <a:spLocks noGrp="1"/>
          </p:cNvSpPr>
          <p:nvPr>
            <p:ph type="pic" sz="quarter" idx="19" hasCustomPrompt="1"/>
          </p:nvPr>
        </p:nvSpPr>
        <p:spPr>
          <a:xfrm>
            <a:off x="8162731" y="1617952"/>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0" name="Text Placeholder 27">
            <a:extLst>
              <a:ext uri="{FF2B5EF4-FFF2-40B4-BE49-F238E27FC236}">
                <a16:creationId xmlns:a16="http://schemas.microsoft.com/office/drawing/2014/main" id="{CD467619-55C3-4742-80C4-BB51BE9D4554}"/>
              </a:ext>
            </a:extLst>
          </p:cNvPr>
          <p:cNvSpPr>
            <a:spLocks noGrp="1"/>
          </p:cNvSpPr>
          <p:nvPr>
            <p:ph type="body" sz="quarter" idx="20" hasCustomPrompt="1"/>
          </p:nvPr>
        </p:nvSpPr>
        <p:spPr>
          <a:xfrm>
            <a:off x="390525"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1" name="Text Placeholder 27">
            <a:extLst>
              <a:ext uri="{FF2B5EF4-FFF2-40B4-BE49-F238E27FC236}">
                <a16:creationId xmlns:a16="http://schemas.microsoft.com/office/drawing/2014/main" id="{9FFA7C56-5235-456F-A55D-D2423BCAD92A}"/>
              </a:ext>
            </a:extLst>
          </p:cNvPr>
          <p:cNvSpPr>
            <a:spLocks noGrp="1"/>
          </p:cNvSpPr>
          <p:nvPr>
            <p:ph type="body" sz="quarter" idx="21" hasCustomPrompt="1"/>
          </p:nvPr>
        </p:nvSpPr>
        <p:spPr>
          <a:xfrm>
            <a:off x="4276628"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3" name="Text Placeholder 27">
            <a:extLst>
              <a:ext uri="{FF2B5EF4-FFF2-40B4-BE49-F238E27FC236}">
                <a16:creationId xmlns:a16="http://schemas.microsoft.com/office/drawing/2014/main" id="{A3C8A936-56B8-4185-A261-8C1B6BBB4617}"/>
              </a:ext>
            </a:extLst>
          </p:cNvPr>
          <p:cNvSpPr>
            <a:spLocks noGrp="1"/>
          </p:cNvSpPr>
          <p:nvPr>
            <p:ph type="body" sz="quarter" idx="23" hasCustomPrompt="1"/>
          </p:nvPr>
        </p:nvSpPr>
        <p:spPr>
          <a:xfrm>
            <a:off x="8162731" y="2637379"/>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24" name="Picture Placeholder 37">
            <a:extLst>
              <a:ext uri="{FF2B5EF4-FFF2-40B4-BE49-F238E27FC236}">
                <a16:creationId xmlns:a16="http://schemas.microsoft.com/office/drawing/2014/main" id="{6D8138D3-69BB-4AD6-9F8C-44137E15D906}"/>
              </a:ext>
            </a:extLst>
          </p:cNvPr>
          <p:cNvSpPr>
            <a:spLocks noGrp="1"/>
          </p:cNvSpPr>
          <p:nvPr>
            <p:ph type="pic" sz="quarter" idx="24" hasCustomPrompt="1"/>
          </p:nvPr>
        </p:nvSpPr>
        <p:spPr>
          <a:xfrm>
            <a:off x="3903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5" name="Picture Placeholder 37">
            <a:extLst>
              <a:ext uri="{FF2B5EF4-FFF2-40B4-BE49-F238E27FC236}">
                <a16:creationId xmlns:a16="http://schemas.microsoft.com/office/drawing/2014/main" id="{C68F96D0-5879-48BE-A9CC-C8DEED25EA58}"/>
              </a:ext>
            </a:extLst>
          </p:cNvPr>
          <p:cNvSpPr>
            <a:spLocks noGrp="1"/>
          </p:cNvSpPr>
          <p:nvPr>
            <p:ph type="pic" sz="quarter" idx="25" hasCustomPrompt="1"/>
          </p:nvPr>
        </p:nvSpPr>
        <p:spPr>
          <a:xfrm>
            <a:off x="42765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7" name="Picture Placeholder 37">
            <a:extLst>
              <a:ext uri="{FF2B5EF4-FFF2-40B4-BE49-F238E27FC236}">
                <a16:creationId xmlns:a16="http://schemas.microsoft.com/office/drawing/2014/main" id="{F220ACE6-02F4-4AAF-8A08-7142312BF6D1}"/>
              </a:ext>
            </a:extLst>
          </p:cNvPr>
          <p:cNvSpPr>
            <a:spLocks noGrp="1"/>
          </p:cNvSpPr>
          <p:nvPr>
            <p:ph type="pic" sz="quarter" idx="27" hasCustomPrompt="1"/>
          </p:nvPr>
        </p:nvSpPr>
        <p:spPr>
          <a:xfrm>
            <a:off x="8162731" y="3795619"/>
            <a:ext cx="3657600" cy="1005840"/>
          </a:xfrm>
          <a:prstGeom prst="rect">
            <a:avLst/>
          </a:prstGeom>
          <a:solidFill>
            <a:schemeClr val="bg1">
              <a:lumMod val="95000"/>
            </a:schemeClr>
          </a:solidFill>
        </p:spPr>
        <p:txBody>
          <a:bodyPr anchor="ct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2400">
                <a:solidFill>
                  <a:schemeClr val="bg1">
                    <a:lumMod val="75000"/>
                  </a:schemeClr>
                </a:solidFill>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s-ES" dirty="0" err="1"/>
              <a:t>Click</a:t>
            </a:r>
            <a:r>
              <a:rPr lang="es-ES" dirty="0"/>
              <a:t> </a:t>
            </a:r>
            <a:r>
              <a:rPr lang="es-ES" dirty="0" err="1"/>
              <a:t>to</a:t>
            </a:r>
            <a:r>
              <a:rPr lang="es-ES" dirty="0"/>
              <a:t> </a:t>
            </a:r>
            <a:r>
              <a:rPr lang="es-ES" dirty="0" err="1"/>
              <a:t>add</a:t>
            </a:r>
            <a:r>
              <a:rPr lang="es-ES" dirty="0"/>
              <a:t> </a:t>
            </a:r>
            <a:r>
              <a:rPr lang="es-ES" dirty="0" err="1"/>
              <a:t>picture</a:t>
            </a:r>
            <a:endParaRPr lang="es-ES" dirty="0"/>
          </a:p>
        </p:txBody>
      </p:sp>
      <p:sp>
        <p:nvSpPr>
          <p:cNvPr id="28" name="Text Placeholder 27">
            <a:extLst>
              <a:ext uri="{FF2B5EF4-FFF2-40B4-BE49-F238E27FC236}">
                <a16:creationId xmlns:a16="http://schemas.microsoft.com/office/drawing/2014/main" id="{908E73A7-8AC1-47F5-9EEE-1E5FCD29801B}"/>
              </a:ext>
            </a:extLst>
          </p:cNvPr>
          <p:cNvSpPr>
            <a:spLocks noGrp="1"/>
          </p:cNvSpPr>
          <p:nvPr>
            <p:ph type="body" sz="quarter" idx="28" hasCustomPrompt="1"/>
          </p:nvPr>
        </p:nvSpPr>
        <p:spPr>
          <a:xfrm>
            <a:off x="390525"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4" name="Text Placeholder 27">
            <a:extLst>
              <a:ext uri="{FF2B5EF4-FFF2-40B4-BE49-F238E27FC236}">
                <a16:creationId xmlns:a16="http://schemas.microsoft.com/office/drawing/2014/main" id="{FCD347F6-6747-4557-A0A4-8A33407E5282}"/>
              </a:ext>
            </a:extLst>
          </p:cNvPr>
          <p:cNvSpPr>
            <a:spLocks noGrp="1"/>
          </p:cNvSpPr>
          <p:nvPr>
            <p:ph type="body" sz="quarter" idx="29" hasCustomPrompt="1"/>
          </p:nvPr>
        </p:nvSpPr>
        <p:spPr>
          <a:xfrm>
            <a:off x="4276628"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sp>
        <p:nvSpPr>
          <p:cNvPr id="36" name="Text Placeholder 27">
            <a:extLst>
              <a:ext uri="{FF2B5EF4-FFF2-40B4-BE49-F238E27FC236}">
                <a16:creationId xmlns:a16="http://schemas.microsoft.com/office/drawing/2014/main" id="{DF242684-9C00-422E-863D-391CFCE36544}"/>
              </a:ext>
            </a:extLst>
          </p:cNvPr>
          <p:cNvSpPr>
            <a:spLocks noGrp="1"/>
          </p:cNvSpPr>
          <p:nvPr>
            <p:ph type="body" sz="quarter" idx="31" hasCustomPrompt="1"/>
          </p:nvPr>
        </p:nvSpPr>
        <p:spPr>
          <a:xfrm>
            <a:off x="8162731" y="4815046"/>
            <a:ext cx="3657600" cy="1005840"/>
          </a:xfrm>
          <a:prstGeom prst="rect">
            <a:avLst/>
          </a:prstGeom>
        </p:spPr>
        <p:txBody>
          <a:bodyPr>
            <a:normAutofit/>
          </a:bodyPr>
          <a:lstStyle>
            <a:lvl1pPr marL="0" indent="0" algn="ct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description</a:t>
            </a:r>
          </a:p>
        </p:txBody>
      </p:sp>
      <p:cxnSp>
        <p:nvCxnSpPr>
          <p:cNvPr id="39" name="Straight Connector 38">
            <a:extLst>
              <a:ext uri="{FF2B5EF4-FFF2-40B4-BE49-F238E27FC236}">
                <a16:creationId xmlns:a16="http://schemas.microsoft.com/office/drawing/2014/main" id="{9830C5ED-908B-4BB8-9F71-93DF39944B99}"/>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0">
            <a:extLst>
              <a:ext uri="{FF2B5EF4-FFF2-40B4-BE49-F238E27FC236}">
                <a16:creationId xmlns:a16="http://schemas.microsoft.com/office/drawing/2014/main" id="{56DB3A4D-4E00-4FB2-86BE-F7227E03641D}"/>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9" name="Text Placeholder 2">
            <a:extLst>
              <a:ext uri="{FF2B5EF4-FFF2-40B4-BE49-F238E27FC236}">
                <a16:creationId xmlns:a16="http://schemas.microsoft.com/office/drawing/2014/main" id="{488D2A12-05B0-4CF7-B940-8931137122BC}"/>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22" name="TextBox 7">
            <a:extLst>
              <a:ext uri="{FF2B5EF4-FFF2-40B4-BE49-F238E27FC236}">
                <a16:creationId xmlns:a16="http://schemas.microsoft.com/office/drawing/2014/main" id="{7F8AE6C8-D4BF-4C42-9430-223CEA81EC41}"/>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591712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ur items with image diamond">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062ECC6F-F329-4894-B30C-9DDF87D4C6B0}"/>
              </a:ext>
            </a:extLst>
          </p:cNvPr>
          <p:cNvSpPr>
            <a:spLocks noGrp="1"/>
          </p:cNvSpPr>
          <p:nvPr>
            <p:ph type="pic" sz="quarter" idx="10"/>
          </p:nvPr>
        </p:nvSpPr>
        <p:spPr>
          <a:xfrm>
            <a:off x="4995728" y="1654784"/>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dirty="0"/>
          </a:p>
        </p:txBody>
      </p:sp>
      <p:sp>
        <p:nvSpPr>
          <p:cNvPr id="18" name="Picture Placeholder 17">
            <a:extLst>
              <a:ext uri="{FF2B5EF4-FFF2-40B4-BE49-F238E27FC236}">
                <a16:creationId xmlns:a16="http://schemas.microsoft.com/office/drawing/2014/main" id="{8A961995-D4ED-4EA2-BDF8-2F805F6EDE8F}"/>
              </a:ext>
            </a:extLst>
          </p:cNvPr>
          <p:cNvSpPr>
            <a:spLocks noGrp="1"/>
          </p:cNvSpPr>
          <p:nvPr>
            <p:ph type="pic" sz="quarter" idx="11"/>
          </p:nvPr>
        </p:nvSpPr>
        <p:spPr>
          <a:xfrm>
            <a:off x="3845353"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19" name="Picture Placeholder 18">
            <a:extLst>
              <a:ext uri="{FF2B5EF4-FFF2-40B4-BE49-F238E27FC236}">
                <a16:creationId xmlns:a16="http://schemas.microsoft.com/office/drawing/2014/main" id="{6C31DF17-C531-4C0B-A8D1-30EC2E698BEB}"/>
              </a:ext>
            </a:extLst>
          </p:cNvPr>
          <p:cNvSpPr>
            <a:spLocks noGrp="1"/>
          </p:cNvSpPr>
          <p:nvPr>
            <p:ph type="pic" sz="quarter" idx="12"/>
          </p:nvPr>
        </p:nvSpPr>
        <p:spPr>
          <a:xfrm>
            <a:off x="6142655" y="2803148"/>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20" name="Picture Placeholder 19">
            <a:extLst>
              <a:ext uri="{FF2B5EF4-FFF2-40B4-BE49-F238E27FC236}">
                <a16:creationId xmlns:a16="http://schemas.microsoft.com/office/drawing/2014/main" id="{293F6089-7C17-41CF-98EF-CCF55D2C537C}"/>
              </a:ext>
            </a:extLst>
          </p:cNvPr>
          <p:cNvSpPr>
            <a:spLocks noGrp="1"/>
          </p:cNvSpPr>
          <p:nvPr>
            <p:ph type="pic" sz="quarter" idx="13"/>
          </p:nvPr>
        </p:nvSpPr>
        <p:spPr>
          <a:xfrm>
            <a:off x="4995728" y="3951512"/>
            <a:ext cx="2203992" cy="2203418"/>
          </a:xfrm>
          <a:custGeom>
            <a:avLst/>
            <a:gdLst>
              <a:gd name="connsiteX0" fmla="*/ 2203418 w 4406835"/>
              <a:gd name="connsiteY0" fmla="*/ 0 h 4406835"/>
              <a:gd name="connsiteX1" fmla="*/ 4406835 w 4406835"/>
              <a:gd name="connsiteY1" fmla="*/ 2203418 h 4406835"/>
              <a:gd name="connsiteX2" fmla="*/ 2203418 w 4406835"/>
              <a:gd name="connsiteY2" fmla="*/ 4406835 h 4406835"/>
              <a:gd name="connsiteX3" fmla="*/ 0 w 4406835"/>
              <a:gd name="connsiteY3" fmla="*/ 2203418 h 4406835"/>
            </a:gdLst>
            <a:ahLst/>
            <a:cxnLst>
              <a:cxn ang="0">
                <a:pos x="connsiteX0" y="connsiteY0"/>
              </a:cxn>
              <a:cxn ang="0">
                <a:pos x="connsiteX1" y="connsiteY1"/>
              </a:cxn>
              <a:cxn ang="0">
                <a:pos x="connsiteX2" y="connsiteY2"/>
              </a:cxn>
              <a:cxn ang="0">
                <a:pos x="connsiteX3" y="connsiteY3"/>
              </a:cxn>
            </a:cxnLst>
            <a:rect l="l" t="t" r="r" b="b"/>
            <a:pathLst>
              <a:path w="4406835" h="4406835">
                <a:moveTo>
                  <a:pt x="2203418" y="0"/>
                </a:moveTo>
                <a:lnTo>
                  <a:pt x="4406835" y="2203418"/>
                </a:lnTo>
                <a:lnTo>
                  <a:pt x="2203418" y="4406835"/>
                </a:lnTo>
                <a:lnTo>
                  <a:pt x="0" y="2203418"/>
                </a:lnTo>
                <a:close/>
              </a:path>
            </a:pathLst>
          </a:custGeom>
          <a:solidFill>
            <a:schemeClr val="bg1">
              <a:lumMod val="95000"/>
            </a:schemeClr>
          </a:solidFill>
        </p:spPr>
        <p:txBody>
          <a:bodyPr wrap="square" anchor="ctr">
            <a:noAutofit/>
          </a:bodyPr>
          <a:lstStyle>
            <a:lvl1pPr marL="0" indent="0" algn="ctr">
              <a:buNone/>
              <a:defRPr sz="2000">
                <a:solidFill>
                  <a:schemeClr val="bg1">
                    <a:lumMod val="75000"/>
                  </a:schemeClr>
                </a:solidFill>
              </a:defRPr>
            </a:lvl1pPr>
          </a:lstStyle>
          <a:p>
            <a:endParaRPr lang="es-ES"/>
          </a:p>
        </p:txBody>
      </p:sp>
      <p:sp>
        <p:nvSpPr>
          <p:cNvPr id="9" name="Text Placeholder 27">
            <a:extLst>
              <a:ext uri="{FF2B5EF4-FFF2-40B4-BE49-F238E27FC236}">
                <a16:creationId xmlns:a16="http://schemas.microsoft.com/office/drawing/2014/main" id="{6F31F507-3EE3-4E74-A3B3-829544666D5B}"/>
              </a:ext>
            </a:extLst>
          </p:cNvPr>
          <p:cNvSpPr>
            <a:spLocks noGrp="1"/>
          </p:cNvSpPr>
          <p:nvPr>
            <p:ph type="body" sz="quarter" idx="17" hasCustomPrompt="1"/>
          </p:nvPr>
        </p:nvSpPr>
        <p:spPr>
          <a:xfrm>
            <a:off x="390525" y="1786247"/>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0" name="Text Placeholder 27">
            <a:extLst>
              <a:ext uri="{FF2B5EF4-FFF2-40B4-BE49-F238E27FC236}">
                <a16:creationId xmlns:a16="http://schemas.microsoft.com/office/drawing/2014/main" id="{859FA3BB-CF44-4802-9948-D8B7CE113AED}"/>
              </a:ext>
            </a:extLst>
          </p:cNvPr>
          <p:cNvSpPr>
            <a:spLocks noGrp="1"/>
          </p:cNvSpPr>
          <p:nvPr>
            <p:ph type="body" sz="quarter" idx="18" hasCustomPrompt="1"/>
          </p:nvPr>
        </p:nvSpPr>
        <p:spPr>
          <a:xfrm>
            <a:off x="390525" y="3809450"/>
            <a:ext cx="3200400" cy="1645920"/>
          </a:xfrm>
          <a:prstGeom prst="rect">
            <a:avLst/>
          </a:prstGeom>
        </p:spPr>
        <p:txBody>
          <a:bodyPr>
            <a:normAutofit/>
          </a:bodyPr>
          <a:lstStyle>
            <a:lvl1pPr marL="0" indent="0" algn="r">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1" name="Text Placeholder 27">
            <a:extLst>
              <a:ext uri="{FF2B5EF4-FFF2-40B4-BE49-F238E27FC236}">
                <a16:creationId xmlns:a16="http://schemas.microsoft.com/office/drawing/2014/main" id="{E2A970B0-BEBC-40E3-96D3-D0403411ADAD}"/>
              </a:ext>
            </a:extLst>
          </p:cNvPr>
          <p:cNvSpPr>
            <a:spLocks noGrp="1"/>
          </p:cNvSpPr>
          <p:nvPr>
            <p:ph type="body" sz="quarter" idx="19" hasCustomPrompt="1"/>
          </p:nvPr>
        </p:nvSpPr>
        <p:spPr>
          <a:xfrm>
            <a:off x="8601075" y="1786247"/>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sp>
        <p:nvSpPr>
          <p:cNvPr id="12" name="Text Placeholder 27">
            <a:extLst>
              <a:ext uri="{FF2B5EF4-FFF2-40B4-BE49-F238E27FC236}">
                <a16:creationId xmlns:a16="http://schemas.microsoft.com/office/drawing/2014/main" id="{EF807731-E598-4EFB-BF1E-35A41D6EC435}"/>
              </a:ext>
            </a:extLst>
          </p:cNvPr>
          <p:cNvSpPr>
            <a:spLocks noGrp="1"/>
          </p:cNvSpPr>
          <p:nvPr>
            <p:ph type="body" sz="quarter" idx="20" hasCustomPrompt="1"/>
          </p:nvPr>
        </p:nvSpPr>
        <p:spPr>
          <a:xfrm>
            <a:off x="8601075" y="3809450"/>
            <a:ext cx="3200400" cy="1645920"/>
          </a:xfrm>
          <a:prstGeom prst="rect">
            <a:avLst/>
          </a:prstGeom>
        </p:spPr>
        <p:txBody>
          <a:bodyPr>
            <a:normAutofit/>
          </a:bodyPr>
          <a:lstStyle>
            <a:lvl1pPr marL="0" indent="0" algn="l">
              <a:lnSpc>
                <a:spcPct val="100000"/>
              </a:lnSpc>
              <a:spcBef>
                <a:spcPts val="300"/>
              </a:spcBef>
              <a:buNone/>
              <a:defRPr sz="1200">
                <a:latin typeface="+mn-lt"/>
                <a:ea typeface="Open Sans Light" panose="020B0306030504020204" pitchFamily="34" charset="0"/>
                <a:cs typeface="Open Sans Light" panose="020B0306030504020204" pitchFamily="34" charset="0"/>
              </a:defRPr>
            </a:lvl1pPr>
            <a:lvl2pPr marL="4572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4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add text</a:t>
            </a:r>
          </a:p>
        </p:txBody>
      </p:sp>
      <p:cxnSp>
        <p:nvCxnSpPr>
          <p:cNvPr id="23" name="Straight Connector 22">
            <a:extLst>
              <a:ext uri="{FF2B5EF4-FFF2-40B4-BE49-F238E27FC236}">
                <a16:creationId xmlns:a16="http://schemas.microsoft.com/office/drawing/2014/main" id="{EB9EBF97-CEAA-4220-9079-D063F58B2A81}"/>
              </a:ext>
            </a:extLst>
          </p:cNvPr>
          <p:cNvCxnSpPr/>
          <p:nvPr userDrawn="1"/>
        </p:nvCxnSpPr>
        <p:spPr>
          <a:xfrm>
            <a:off x="5762431" y="1311481"/>
            <a:ext cx="68580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10">
            <a:extLst>
              <a:ext uri="{FF2B5EF4-FFF2-40B4-BE49-F238E27FC236}">
                <a16:creationId xmlns:a16="http://schemas.microsoft.com/office/drawing/2014/main" id="{E7A52793-7004-4A92-8A39-44AE2E29582C}"/>
              </a:ext>
            </a:extLst>
          </p:cNvPr>
          <p:cNvSpPr>
            <a:spLocks noGrp="1"/>
          </p:cNvSpPr>
          <p:nvPr>
            <p:ph type="body" sz="quarter" idx="15" hasCustomPrompt="1"/>
          </p:nvPr>
        </p:nvSpPr>
        <p:spPr>
          <a:xfrm>
            <a:off x="390331" y="376361"/>
            <a:ext cx="11430000" cy="502920"/>
          </a:xfrm>
          <a:prstGeom prst="rect">
            <a:avLst/>
          </a:prstGeom>
        </p:spPr>
        <p:txBody>
          <a:bodyPr anchor="ctr">
            <a:noAutofit/>
          </a:bodyPr>
          <a:lstStyle>
            <a:lvl1pPr marL="0" indent="0" algn="ctr">
              <a:lnSpc>
                <a:spcPct val="100000"/>
              </a:lnSpc>
              <a:spcBef>
                <a:spcPts val="0"/>
              </a:spcBef>
              <a:buNone/>
              <a:defRPr sz="3400">
                <a:solidFill>
                  <a:schemeClr val="accent5"/>
                </a:solidFill>
                <a:latin typeface="+mn-lt"/>
                <a:ea typeface="Open Sans Light" panose="020B0306030504020204" pitchFamily="34" charset="0"/>
                <a:cs typeface="Open Sans Light" panose="020B0306030504020204" pitchFamily="34" charset="0"/>
              </a:defRPr>
            </a:lvl1pPr>
            <a:lvl2pPr marL="4572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ITLE</a:t>
            </a:r>
          </a:p>
        </p:txBody>
      </p:sp>
      <p:sp>
        <p:nvSpPr>
          <p:cNvPr id="14" name="Text Placeholder 2">
            <a:extLst>
              <a:ext uri="{FF2B5EF4-FFF2-40B4-BE49-F238E27FC236}">
                <a16:creationId xmlns:a16="http://schemas.microsoft.com/office/drawing/2014/main" id="{F6464A6C-F694-4A07-A7AF-B33C19CA4120}"/>
              </a:ext>
            </a:extLst>
          </p:cNvPr>
          <p:cNvSpPr>
            <a:spLocks noGrp="1"/>
          </p:cNvSpPr>
          <p:nvPr>
            <p:ph type="body" sz="quarter" idx="16" hasCustomPrompt="1"/>
          </p:nvPr>
        </p:nvSpPr>
        <p:spPr>
          <a:xfrm>
            <a:off x="390331" y="933098"/>
            <a:ext cx="11430000" cy="274320"/>
          </a:xfrm>
          <a:prstGeom prst="rect">
            <a:avLst/>
          </a:prstGeom>
        </p:spPr>
        <p:txBody>
          <a:bodyPr anchor="ctr">
            <a:noAutofit/>
          </a:bodyPr>
          <a:lstStyle>
            <a:lvl1pPr marL="0" indent="0" algn="ctr">
              <a:lnSpc>
                <a:spcPct val="100000"/>
              </a:lnSpc>
              <a:spcBef>
                <a:spcPts val="0"/>
              </a:spcBef>
              <a:buNone/>
              <a:defRPr sz="1400">
                <a:latin typeface="+mn-lt"/>
                <a:ea typeface="Open Sans Light" panose="020B0306030504020204" pitchFamily="34" charset="0"/>
                <a:cs typeface="Open Sans Light" panose="020B0306030504020204" pitchFamily="34" charset="0"/>
              </a:defRPr>
            </a:lvl1pPr>
            <a:lvl2pPr marL="4572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a:buNone/>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SUBTITLE</a:t>
            </a:r>
          </a:p>
        </p:txBody>
      </p:sp>
      <p:sp>
        <p:nvSpPr>
          <p:cNvPr id="15" name="TextBox 7">
            <a:extLst>
              <a:ext uri="{FF2B5EF4-FFF2-40B4-BE49-F238E27FC236}">
                <a16:creationId xmlns:a16="http://schemas.microsoft.com/office/drawing/2014/main" id="{2B4D0890-7238-4F16-87D5-4DCCE7EE2772}"/>
              </a:ext>
            </a:extLst>
          </p:cNvPr>
          <p:cNvSpPr txBox="1">
            <a:spLocks noChangeArrowheads="1"/>
          </p:cNvSpPr>
          <p:nvPr userDrawn="1"/>
        </p:nvSpPr>
        <p:spPr bwMode="auto">
          <a:xfrm>
            <a:off x="5257235" y="6470132"/>
            <a:ext cx="1676400"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fld id="{2B31E54B-1106-4092-B411-3C20C9AA9B6E}" type="slidenum">
              <a:rPr lang="en-US" altLang="en-US" sz="1000">
                <a:solidFill>
                  <a:srgbClr val="7F7F7F"/>
                </a:solidFill>
                <a:latin typeface="Open Sans" panose="020B0606030504020204" pitchFamily="34" charset="0"/>
                <a:ea typeface="Open Sans" panose="020B0606030504020204" pitchFamily="34" charset="0"/>
                <a:cs typeface="Open Sans" panose="020B0606030504020204" pitchFamily="34" charset="0"/>
              </a:rPr>
              <a:pPr algn="ctr" eaLnBrk="1" hangingPunct="1"/>
              <a:t>‹#›</a:t>
            </a:fld>
            <a:endParaRPr lang="en-US" altLang="en-US" sz="1000" dirty="0">
              <a:solidFill>
                <a:srgbClr val="7F7F7F"/>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4128429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image" Target="../media/image24.png"/><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image" Target="../media/image25.sv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26" Type="http://schemas.openxmlformats.org/officeDocument/2006/relationships/slideLayout" Target="../slideLayouts/slideLayout79.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slideLayout" Target="../slideLayouts/slideLayout78.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29" Type="http://schemas.openxmlformats.org/officeDocument/2006/relationships/image" Target="../media/image25.sv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slideLayout" Target="../slideLayouts/slideLayout77.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28" Type="http://schemas.openxmlformats.org/officeDocument/2006/relationships/image" Target="../media/image24.png"/><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slideLayout" Target="../slideLayouts/slideLayout105.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image" Target="../media/image24.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theme" Target="../theme/theme4.xml"/><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slideLayout" Target="../slideLayouts/slideLayout106.xml"/><Relationship Id="rId30" Type="http://schemas.openxmlformats.org/officeDocument/2006/relationships/image" Target="../media/image25.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theme" Target="../theme/theme5.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26" Type="http://schemas.openxmlformats.org/officeDocument/2006/relationships/image" Target="../media/image24.png"/><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5" Type="http://schemas.openxmlformats.org/officeDocument/2006/relationships/theme" Target="../theme/theme6.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24" Type="http://schemas.openxmlformats.org/officeDocument/2006/relationships/slideLayout" Target="../slideLayouts/slideLayout146.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slideLayout" Target="../slideLayouts/slideLayout145.xml"/><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slideLayout" Target="../slideLayouts/slideLayout144.xml"/><Relationship Id="rId27" Type="http://schemas.openxmlformats.org/officeDocument/2006/relationships/image" Target="../media/image25.svg"/></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72.xml"/><Relationship Id="rId21" Type="http://schemas.openxmlformats.org/officeDocument/2006/relationships/slideLayout" Target="../slideLayouts/slideLayout167.xml"/><Relationship Id="rId42" Type="http://schemas.openxmlformats.org/officeDocument/2006/relationships/slideLayout" Target="../slideLayouts/slideLayout188.xml"/><Relationship Id="rId47" Type="http://schemas.openxmlformats.org/officeDocument/2006/relationships/slideLayout" Target="../slideLayouts/slideLayout193.xml"/><Relationship Id="rId63" Type="http://schemas.openxmlformats.org/officeDocument/2006/relationships/slideLayout" Target="../slideLayouts/slideLayout209.xml"/><Relationship Id="rId68" Type="http://schemas.openxmlformats.org/officeDocument/2006/relationships/slideLayout" Target="../slideLayouts/slideLayout214.xml"/><Relationship Id="rId7" Type="http://schemas.openxmlformats.org/officeDocument/2006/relationships/slideLayout" Target="../slideLayouts/slideLayout153.xml"/><Relationship Id="rId71" Type="http://schemas.openxmlformats.org/officeDocument/2006/relationships/slideLayout" Target="../slideLayouts/slideLayout217.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9" Type="http://schemas.openxmlformats.org/officeDocument/2006/relationships/slideLayout" Target="../slideLayouts/slideLayout175.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32" Type="http://schemas.openxmlformats.org/officeDocument/2006/relationships/slideLayout" Target="../slideLayouts/slideLayout178.xml"/><Relationship Id="rId37" Type="http://schemas.openxmlformats.org/officeDocument/2006/relationships/slideLayout" Target="../slideLayouts/slideLayout183.xml"/><Relationship Id="rId40" Type="http://schemas.openxmlformats.org/officeDocument/2006/relationships/slideLayout" Target="../slideLayouts/slideLayout186.xml"/><Relationship Id="rId45" Type="http://schemas.openxmlformats.org/officeDocument/2006/relationships/slideLayout" Target="../slideLayouts/slideLayout191.xml"/><Relationship Id="rId53" Type="http://schemas.openxmlformats.org/officeDocument/2006/relationships/slideLayout" Target="../slideLayouts/slideLayout199.xml"/><Relationship Id="rId58" Type="http://schemas.openxmlformats.org/officeDocument/2006/relationships/slideLayout" Target="../slideLayouts/slideLayout204.xml"/><Relationship Id="rId66" Type="http://schemas.openxmlformats.org/officeDocument/2006/relationships/slideLayout" Target="../slideLayouts/slideLayout212.xml"/><Relationship Id="rId5" Type="http://schemas.openxmlformats.org/officeDocument/2006/relationships/slideLayout" Target="../slideLayouts/slideLayout151.xml"/><Relationship Id="rId61" Type="http://schemas.openxmlformats.org/officeDocument/2006/relationships/slideLayout" Target="../slideLayouts/slideLayout207.xml"/><Relationship Id="rId19" Type="http://schemas.openxmlformats.org/officeDocument/2006/relationships/slideLayout" Target="../slideLayouts/slideLayout16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 Id="rId30" Type="http://schemas.openxmlformats.org/officeDocument/2006/relationships/slideLayout" Target="../slideLayouts/slideLayout176.xml"/><Relationship Id="rId35" Type="http://schemas.openxmlformats.org/officeDocument/2006/relationships/slideLayout" Target="../slideLayouts/slideLayout181.xml"/><Relationship Id="rId43" Type="http://schemas.openxmlformats.org/officeDocument/2006/relationships/slideLayout" Target="../slideLayouts/slideLayout189.xml"/><Relationship Id="rId48" Type="http://schemas.openxmlformats.org/officeDocument/2006/relationships/slideLayout" Target="../slideLayouts/slideLayout194.xml"/><Relationship Id="rId56" Type="http://schemas.openxmlformats.org/officeDocument/2006/relationships/slideLayout" Target="../slideLayouts/slideLayout202.xml"/><Relationship Id="rId64" Type="http://schemas.openxmlformats.org/officeDocument/2006/relationships/slideLayout" Target="../slideLayouts/slideLayout210.xml"/><Relationship Id="rId69" Type="http://schemas.openxmlformats.org/officeDocument/2006/relationships/slideLayout" Target="../slideLayouts/slideLayout215.xml"/><Relationship Id="rId8" Type="http://schemas.openxmlformats.org/officeDocument/2006/relationships/slideLayout" Target="../slideLayouts/slideLayout154.xml"/><Relationship Id="rId51" Type="http://schemas.openxmlformats.org/officeDocument/2006/relationships/slideLayout" Target="../slideLayouts/slideLayout197.xml"/><Relationship Id="rId72" Type="http://schemas.openxmlformats.org/officeDocument/2006/relationships/theme" Target="../theme/theme7.xml"/><Relationship Id="rId3" Type="http://schemas.openxmlformats.org/officeDocument/2006/relationships/slideLayout" Target="../slideLayouts/slideLayout149.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33" Type="http://schemas.openxmlformats.org/officeDocument/2006/relationships/slideLayout" Target="../slideLayouts/slideLayout179.xml"/><Relationship Id="rId38" Type="http://schemas.openxmlformats.org/officeDocument/2006/relationships/slideLayout" Target="../slideLayouts/slideLayout184.xml"/><Relationship Id="rId46" Type="http://schemas.openxmlformats.org/officeDocument/2006/relationships/slideLayout" Target="../slideLayouts/slideLayout192.xml"/><Relationship Id="rId59" Type="http://schemas.openxmlformats.org/officeDocument/2006/relationships/slideLayout" Target="../slideLayouts/slideLayout205.xml"/><Relationship Id="rId67" Type="http://schemas.openxmlformats.org/officeDocument/2006/relationships/slideLayout" Target="../slideLayouts/slideLayout213.xml"/><Relationship Id="rId20" Type="http://schemas.openxmlformats.org/officeDocument/2006/relationships/slideLayout" Target="../slideLayouts/slideLayout166.xml"/><Relationship Id="rId41" Type="http://schemas.openxmlformats.org/officeDocument/2006/relationships/slideLayout" Target="../slideLayouts/slideLayout187.xml"/><Relationship Id="rId54" Type="http://schemas.openxmlformats.org/officeDocument/2006/relationships/slideLayout" Target="../slideLayouts/slideLayout200.xml"/><Relationship Id="rId62" Type="http://schemas.openxmlformats.org/officeDocument/2006/relationships/slideLayout" Target="../slideLayouts/slideLayout208.xml"/><Relationship Id="rId70" Type="http://schemas.openxmlformats.org/officeDocument/2006/relationships/slideLayout" Target="../slideLayouts/slideLayout216.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slideLayout" Target="../slideLayouts/slideLayout174.xml"/><Relationship Id="rId36" Type="http://schemas.openxmlformats.org/officeDocument/2006/relationships/slideLayout" Target="../slideLayouts/slideLayout182.xml"/><Relationship Id="rId49" Type="http://schemas.openxmlformats.org/officeDocument/2006/relationships/slideLayout" Target="../slideLayouts/slideLayout195.xml"/><Relationship Id="rId57" Type="http://schemas.openxmlformats.org/officeDocument/2006/relationships/slideLayout" Target="../slideLayouts/slideLayout203.xml"/><Relationship Id="rId10" Type="http://schemas.openxmlformats.org/officeDocument/2006/relationships/slideLayout" Target="../slideLayouts/slideLayout156.xml"/><Relationship Id="rId31" Type="http://schemas.openxmlformats.org/officeDocument/2006/relationships/slideLayout" Target="../slideLayouts/slideLayout177.xml"/><Relationship Id="rId44" Type="http://schemas.openxmlformats.org/officeDocument/2006/relationships/slideLayout" Target="../slideLayouts/slideLayout190.xml"/><Relationship Id="rId52" Type="http://schemas.openxmlformats.org/officeDocument/2006/relationships/slideLayout" Target="../slideLayouts/slideLayout198.xml"/><Relationship Id="rId60" Type="http://schemas.openxmlformats.org/officeDocument/2006/relationships/slideLayout" Target="../slideLayouts/slideLayout206.xml"/><Relationship Id="rId65" Type="http://schemas.openxmlformats.org/officeDocument/2006/relationships/slideLayout" Target="../slideLayouts/slideLayout211.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9" Type="http://schemas.openxmlformats.org/officeDocument/2006/relationships/slideLayout" Target="../slideLayouts/slideLayout185.xml"/><Relationship Id="rId34" Type="http://schemas.openxmlformats.org/officeDocument/2006/relationships/slideLayout" Target="../slideLayouts/slideLayout180.xml"/><Relationship Id="rId50" Type="http://schemas.openxmlformats.org/officeDocument/2006/relationships/slideLayout" Target="../slideLayouts/slideLayout196.xml"/><Relationship Id="rId55"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5.xml"/><Relationship Id="rId13" Type="http://schemas.openxmlformats.org/officeDocument/2006/relationships/slideLayout" Target="../slideLayouts/slideLayout230.xml"/><Relationship Id="rId18" Type="http://schemas.openxmlformats.org/officeDocument/2006/relationships/slideLayout" Target="../slideLayouts/slideLayout235.xml"/><Relationship Id="rId3" Type="http://schemas.openxmlformats.org/officeDocument/2006/relationships/slideLayout" Target="../slideLayouts/slideLayout220.xml"/><Relationship Id="rId7" Type="http://schemas.openxmlformats.org/officeDocument/2006/relationships/slideLayout" Target="../slideLayouts/slideLayout224.xml"/><Relationship Id="rId12" Type="http://schemas.openxmlformats.org/officeDocument/2006/relationships/slideLayout" Target="../slideLayouts/slideLayout229.xml"/><Relationship Id="rId17" Type="http://schemas.openxmlformats.org/officeDocument/2006/relationships/slideLayout" Target="../slideLayouts/slideLayout234.xml"/><Relationship Id="rId2" Type="http://schemas.openxmlformats.org/officeDocument/2006/relationships/slideLayout" Target="../slideLayouts/slideLayout219.xml"/><Relationship Id="rId16" Type="http://schemas.openxmlformats.org/officeDocument/2006/relationships/slideLayout" Target="../slideLayouts/slideLayout233.xml"/><Relationship Id="rId1" Type="http://schemas.openxmlformats.org/officeDocument/2006/relationships/slideLayout" Target="../slideLayouts/slideLayout218.xml"/><Relationship Id="rId6" Type="http://schemas.openxmlformats.org/officeDocument/2006/relationships/slideLayout" Target="../slideLayouts/slideLayout223.xml"/><Relationship Id="rId11" Type="http://schemas.openxmlformats.org/officeDocument/2006/relationships/slideLayout" Target="../slideLayouts/slideLayout228.xml"/><Relationship Id="rId5" Type="http://schemas.openxmlformats.org/officeDocument/2006/relationships/slideLayout" Target="../slideLayouts/slideLayout222.xml"/><Relationship Id="rId15" Type="http://schemas.openxmlformats.org/officeDocument/2006/relationships/slideLayout" Target="../slideLayouts/slideLayout232.xml"/><Relationship Id="rId10" Type="http://schemas.openxmlformats.org/officeDocument/2006/relationships/slideLayout" Target="../slideLayouts/slideLayout227.xml"/><Relationship Id="rId19" Type="http://schemas.openxmlformats.org/officeDocument/2006/relationships/theme" Target="../theme/theme8.xml"/><Relationship Id="rId4" Type="http://schemas.openxmlformats.org/officeDocument/2006/relationships/slideLayout" Target="../slideLayouts/slideLayout221.xml"/><Relationship Id="rId9" Type="http://schemas.openxmlformats.org/officeDocument/2006/relationships/slideLayout" Target="../slideLayouts/slideLayout226.xml"/><Relationship Id="rId14" Type="http://schemas.openxmlformats.org/officeDocument/2006/relationships/slideLayout" Target="../slideLayouts/slideLayout2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theme" Target="../theme/theme9.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image" Target="../media/image25.svg"/><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image" Target="../media/image2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INTERNAL USE ONLY</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a:extLst>
              <a:ext uri="{FF2B5EF4-FFF2-40B4-BE49-F238E27FC236}">
                <a16:creationId xmlns:a16="http://schemas.microsoft.com/office/drawing/2014/main" id="{AA693A46-2921-54D5-25A8-B5FB9D396547}"/>
              </a:ext>
            </a:extLst>
          </p:cNvPr>
          <p:cNvPicPr>
            <a:picLocks noChangeAspect="1"/>
          </p:cNvPicPr>
          <p:nvPr userDrawn="1"/>
        </p:nvPicPr>
        <p:blipFill>
          <a:blip r:embed="rId31"/>
          <a:stretch>
            <a:fillRect/>
          </a:stretch>
        </p:blipFill>
        <p:spPr>
          <a:xfrm>
            <a:off x="381001" y="6309350"/>
            <a:ext cx="3200400" cy="332067"/>
          </a:xfrm>
          <a:prstGeom prst="rect">
            <a:avLst/>
          </a:prstGeom>
        </p:spPr>
      </p:pic>
    </p:spTree>
    <p:extLst>
      <p:ext uri="{BB962C8B-B14F-4D97-AF65-F5344CB8AC3E}">
        <p14:creationId xmlns:p14="http://schemas.microsoft.com/office/powerpoint/2010/main" val="5353596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299297326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3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8">
            <a:extLst>
              <a:ext uri="{96DAC541-7B7A-43D3-8B79-37D633B846F1}">
                <asvg:svgBlip xmlns:asvg="http://schemas.microsoft.com/office/drawing/2016/SVG/main" r:embed="rId29"/>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288867139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5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9">
            <a:extLst>
              <a:ext uri="{96DAC541-7B7A-43D3-8B79-37D633B846F1}">
                <asvg:svgBlip xmlns:asvg="http://schemas.microsoft.com/office/drawing/2016/SVG/main" r:embed="rId30"/>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63302797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 id="2147483839" r:id="rId22"/>
    <p:sldLayoutId id="2147483840" r:id="rId23"/>
    <p:sldLayoutId id="2147483841" r:id="rId24"/>
    <p:sldLayoutId id="2147483842" r:id="rId25"/>
    <p:sldLayoutId id="2147483843" r:id="rId26"/>
    <p:sldLayoutId id="2147483844" r:id="rId2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DB9F8A2-41CB-CA3F-BB2D-EEDAA5AB380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7FA112D-32EA-52B8-D2EC-FC7F0F943A8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508D97E-1F4D-B5FA-C127-EB4BBCDDFD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39D709-C6A1-4684-8C51-DE607E357847}" type="datetimeFigureOut">
              <a:rPr lang="en-US" smtClean="0"/>
              <a:t>4/21/2025</a:t>
            </a:fld>
            <a:endParaRPr lang="en-US"/>
          </a:p>
        </p:txBody>
      </p:sp>
      <p:sp>
        <p:nvSpPr>
          <p:cNvPr id="5" name="Footer Placeholder 4">
            <a:extLst>
              <a:ext uri="{FF2B5EF4-FFF2-40B4-BE49-F238E27FC236}">
                <a16:creationId xmlns:a16="http://schemas.microsoft.com/office/drawing/2014/main" id="{02EA1AA6-1D9D-0285-1521-9DCCCDE769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8DD48AF-9293-19A5-652F-3123FCF4CE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CDD2D8-CAC9-4805-B219-F76E32930F23}" type="slidenum">
              <a:rPr lang="en-US" smtClean="0"/>
              <a:t>‹#›</a:t>
            </a:fld>
            <a:endParaRPr lang="en-US"/>
          </a:p>
        </p:txBody>
      </p:sp>
    </p:spTree>
    <p:extLst>
      <p:ext uri="{BB962C8B-B14F-4D97-AF65-F5344CB8AC3E}">
        <p14:creationId xmlns:p14="http://schemas.microsoft.com/office/powerpoint/2010/main" val="1565080976"/>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 id="2147484006" r:id="rId12"/>
    <p:sldLayoutId id="2147484032" r:id="rId13"/>
    <p:sldLayoutId id="2147484033" r:id="rId14"/>
    <p:sldLayoutId id="2147484034" r:id="rId15"/>
    <p:sldLayoutId id="214748403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6">
            <a:extLst>
              <a:ext uri="{96DAC541-7B7A-43D3-8B79-37D633B846F1}">
                <asvg:svgBlip xmlns:asvg="http://schemas.microsoft.com/office/drawing/2016/SVG/main" r:embed="rId27"/>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1461265431"/>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 id="2147484022" r:id="rId15"/>
    <p:sldLayoutId id="2147484023" r:id="rId16"/>
    <p:sldLayoutId id="2147484024" r:id="rId17"/>
    <p:sldLayoutId id="2147484025" r:id="rId18"/>
    <p:sldLayoutId id="2147484026" r:id="rId19"/>
    <p:sldLayoutId id="2147484027" r:id="rId20"/>
    <p:sldLayoutId id="2147484028" r:id="rId21"/>
    <p:sldLayoutId id="2147484029" r:id="rId22"/>
    <p:sldLayoutId id="2147484030" r:id="rId23"/>
    <p:sldLayoutId id="2147484031" r:id="rId2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F1D3BAD-18ED-4D68-819E-CE5600E1637A}"/>
              </a:ext>
            </a:extLst>
          </p:cNvPr>
          <p:cNvSpPr/>
          <p:nvPr userDrawn="1"/>
        </p:nvSpPr>
        <p:spPr>
          <a:xfrm>
            <a:off x="8783859" y="6482321"/>
            <a:ext cx="3324991" cy="307777"/>
          </a:xfrm>
          <a:prstGeom prst="rect">
            <a:avLst/>
          </a:prstGeom>
        </p:spPr>
        <p:txBody>
          <a:bodyPr wrap="square">
            <a:spAutoFit/>
          </a:bodyPr>
          <a:lstStyle/>
          <a:p>
            <a:pPr algn="r"/>
            <a:r>
              <a:rPr lang="en-US" sz="700" b="1" u="none"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tabLst/>
              <a:defRPr/>
            </a:pPr>
            <a:r>
              <a:rPr lang="en-US" sz="700" kern="1200" dirty="0">
                <a:solidFill>
                  <a:srgbClr val="A2A4A3"/>
                </a:solidFill>
                <a:latin typeface="Open Sans" panose="020B0606030504020204" pitchFamily="34" charset="0"/>
                <a:ea typeface="Open Sans" panose="020B0606030504020204" pitchFamily="34" charset="0"/>
                <a:cs typeface="Open Sans" panose="020B0606030504020204" pitchFamily="34" charset="0"/>
              </a:rPr>
              <a:t>© 2021 Baker, Donelson, Bearman, Caldwell &amp; Berkowitz, PC </a:t>
            </a:r>
            <a:r>
              <a:rPr lang="en-US" sz="700" kern="1200" baseline="0" dirty="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dirty="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74327306"/>
      </p:ext>
    </p:extLst>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 id="2147484040" r:id="rId4"/>
    <p:sldLayoutId id="2147484041" r:id="rId5"/>
    <p:sldLayoutId id="2147484042" r:id="rId6"/>
    <p:sldLayoutId id="2147484043" r:id="rId7"/>
    <p:sldLayoutId id="2147484044" r:id="rId8"/>
    <p:sldLayoutId id="2147484045" r:id="rId9"/>
    <p:sldLayoutId id="2147484046" r:id="rId10"/>
    <p:sldLayoutId id="2147484047" r:id="rId11"/>
    <p:sldLayoutId id="2147484048" r:id="rId12"/>
    <p:sldLayoutId id="2147484049" r:id="rId13"/>
    <p:sldLayoutId id="2147484050" r:id="rId14"/>
    <p:sldLayoutId id="2147484051" r:id="rId15"/>
    <p:sldLayoutId id="2147484052" r:id="rId16"/>
    <p:sldLayoutId id="2147484053" r:id="rId17"/>
    <p:sldLayoutId id="2147484054" r:id="rId18"/>
    <p:sldLayoutId id="2147484055" r:id="rId19"/>
    <p:sldLayoutId id="2147484056" r:id="rId20"/>
    <p:sldLayoutId id="2147484057" r:id="rId21"/>
    <p:sldLayoutId id="2147484058" r:id="rId22"/>
    <p:sldLayoutId id="2147484059" r:id="rId23"/>
    <p:sldLayoutId id="2147484060" r:id="rId24"/>
    <p:sldLayoutId id="2147484061" r:id="rId25"/>
    <p:sldLayoutId id="2147484062" r:id="rId26"/>
    <p:sldLayoutId id="2147484063" r:id="rId27"/>
    <p:sldLayoutId id="2147484064" r:id="rId28"/>
    <p:sldLayoutId id="2147484065" r:id="rId29"/>
    <p:sldLayoutId id="2147484066" r:id="rId30"/>
    <p:sldLayoutId id="2147484067" r:id="rId31"/>
    <p:sldLayoutId id="2147484068" r:id="rId32"/>
    <p:sldLayoutId id="2147484069" r:id="rId33"/>
    <p:sldLayoutId id="2147484070" r:id="rId34"/>
    <p:sldLayoutId id="2147484071" r:id="rId35"/>
    <p:sldLayoutId id="2147484072" r:id="rId36"/>
    <p:sldLayoutId id="2147484073" r:id="rId37"/>
    <p:sldLayoutId id="2147484074" r:id="rId38"/>
    <p:sldLayoutId id="2147484075" r:id="rId39"/>
    <p:sldLayoutId id="2147484076" r:id="rId40"/>
    <p:sldLayoutId id="2147484077" r:id="rId41"/>
    <p:sldLayoutId id="2147484078" r:id="rId42"/>
    <p:sldLayoutId id="2147484079" r:id="rId43"/>
    <p:sldLayoutId id="2147484080" r:id="rId44"/>
    <p:sldLayoutId id="2147484081" r:id="rId45"/>
    <p:sldLayoutId id="2147484082" r:id="rId46"/>
    <p:sldLayoutId id="2147484083" r:id="rId47"/>
    <p:sldLayoutId id="2147484084" r:id="rId48"/>
    <p:sldLayoutId id="2147484085" r:id="rId49"/>
    <p:sldLayoutId id="2147484086" r:id="rId50"/>
    <p:sldLayoutId id="2147484087" r:id="rId51"/>
    <p:sldLayoutId id="2147484088" r:id="rId52"/>
    <p:sldLayoutId id="2147484089" r:id="rId53"/>
    <p:sldLayoutId id="2147484090" r:id="rId54"/>
    <p:sldLayoutId id="2147484091" r:id="rId55"/>
    <p:sldLayoutId id="2147484092" r:id="rId56"/>
    <p:sldLayoutId id="2147484093" r:id="rId57"/>
    <p:sldLayoutId id="2147484094" r:id="rId58"/>
    <p:sldLayoutId id="2147484095" r:id="rId59"/>
    <p:sldLayoutId id="2147484096" r:id="rId60"/>
    <p:sldLayoutId id="2147484097" r:id="rId61"/>
    <p:sldLayoutId id="2147484098" r:id="rId62"/>
    <p:sldLayoutId id="2147484099" r:id="rId63"/>
    <p:sldLayoutId id="2147484100" r:id="rId64"/>
    <p:sldLayoutId id="2147484101" r:id="rId65"/>
    <p:sldLayoutId id="2147484102" r:id="rId66"/>
    <p:sldLayoutId id="2147484103" r:id="rId67"/>
    <p:sldLayoutId id="2147484104" r:id="rId68"/>
    <p:sldLayoutId id="2147484105" r:id="rId69"/>
    <p:sldLayoutId id="2147484106" r:id="rId70"/>
    <p:sldLayoutId id="2147484107" r:id="rId7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568">
          <p15:clr>
            <a:srgbClr val="F26B43"/>
          </p15:clr>
        </p15:guide>
        <p15:guide id="4" pos="5112">
          <p15:clr>
            <a:srgbClr val="F26B43"/>
          </p15:clr>
        </p15:guide>
        <p15:guide id="6" orient="horz" pos="2880">
          <p15:clr>
            <a:srgbClr val="F26B43"/>
          </p15:clr>
        </p15:guide>
        <p15:guide id="7" orient="horz" pos="14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1" y="365126"/>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1"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a:t>4/21/2025</a:t>
            </a:fld>
            <a:endParaRPr lang="en-US"/>
          </a:p>
        </p:txBody>
      </p:sp>
      <p:sp>
        <p:nvSpPr>
          <p:cNvPr id="5" name="Footer Placeholder 4"/>
          <p:cNvSpPr>
            <a:spLocks noGrp="1"/>
          </p:cNvSpPr>
          <p:nvPr>
            <p:ph type="ftr" sz="quarter" idx="3"/>
          </p:nvPr>
        </p:nvSpPr>
        <p:spPr>
          <a:xfrm>
            <a:off x="4038601"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a:t>‹#›</a:t>
            </a:fld>
            <a:endParaRPr lang="en-US"/>
          </a:p>
        </p:txBody>
      </p:sp>
      <p:sp>
        <p:nvSpPr>
          <p:cNvPr id="7" name="TextBox 6">
            <a:extLst>
              <a:ext uri="{FF2B5EF4-FFF2-40B4-BE49-F238E27FC236}">
                <a16:creationId xmlns:a16="http://schemas.microsoft.com/office/drawing/2014/main" id="{6510EC9C-7AA6-034B-8A74-39E46AF9908C}"/>
              </a:ext>
            </a:extLst>
          </p:cNvPr>
          <p:cNvSpPr txBox="1"/>
          <p:nvPr userDrawn="1"/>
        </p:nvSpPr>
        <p:spPr>
          <a:xfrm>
            <a:off x="11750218" y="305271"/>
            <a:ext cx="462518" cy="246203"/>
          </a:xfrm>
          <a:prstGeom prst="rect">
            <a:avLst/>
          </a:prstGeom>
          <a:noFill/>
        </p:spPr>
        <p:txBody>
          <a:bodyPr wrap="square" lIns="91422" tIns="45711" rIns="91422" bIns="45711" rtlCol="0">
            <a:spAutoFit/>
          </a:bodyPr>
          <a:lstStyle/>
          <a:p>
            <a:pPr algn="ctr"/>
            <a:fld id="{260E2A6B-A809-4840-BF14-8648BC0BDF87}" type="slidenum">
              <a:rPr lang="id-ID" sz="1000" b="0" i="0" smtClean="0">
                <a:solidFill>
                  <a:schemeClr val="bg1"/>
                </a:solidFill>
                <a:latin typeface="Roboto" panose="02000000000000000000" pitchFamily="2" charset="0"/>
                <a:ea typeface="Roboto" panose="02000000000000000000" pitchFamily="2" charset="0"/>
                <a:cs typeface="Montserrat" charset="0"/>
              </a:rPr>
              <a:pPr algn="ctr"/>
              <a:t>‹#›</a:t>
            </a:fld>
            <a:r>
              <a:rPr lang="id-ID" sz="1000" b="1" i="0">
                <a:solidFill>
                  <a:schemeClr val="bg1"/>
                </a:solidFill>
                <a:latin typeface="Montserrat" charset="0"/>
                <a:ea typeface="Montserrat" charset="0"/>
                <a:cs typeface="Montserrat" charset="0"/>
              </a:rPr>
              <a:t>  </a:t>
            </a:r>
          </a:p>
        </p:txBody>
      </p:sp>
    </p:spTree>
    <p:extLst>
      <p:ext uri="{BB962C8B-B14F-4D97-AF65-F5344CB8AC3E}">
        <p14:creationId xmlns:p14="http://schemas.microsoft.com/office/powerpoint/2010/main" val="56093835"/>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 id="2147484121" r:id="rId13"/>
    <p:sldLayoutId id="2147484122" r:id="rId14"/>
    <p:sldLayoutId id="2147484123" r:id="rId15"/>
    <p:sldLayoutId id="2147484124" r:id="rId16"/>
    <p:sldLayoutId id="2147484125" r:id="rId17"/>
    <p:sldLayoutId id="2147484126" r:id="rId18"/>
  </p:sldLayoutIdLst>
  <p:transition/>
  <p:hf hdr="0" ftr="0" dt="0"/>
  <p:txStyles>
    <p:titleStyle>
      <a:lvl1pPr algn="l" defTabSz="914172"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0" indent="0" algn="l" defTabSz="914172"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086" indent="0" algn="l" defTabSz="914172"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172" indent="0" algn="l" defTabSz="914172"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257"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343" indent="0" algn="l" defTabSz="914172"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3972"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9" indent="-228543" algn="l" defTabSz="91417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7" algn="l" defTabSz="914172" rtl="0" eaLnBrk="1" latinLnBrk="0" hangingPunct="1">
        <a:defRPr sz="1800" kern="1200">
          <a:solidFill>
            <a:schemeClr val="tx1"/>
          </a:solidFill>
          <a:latin typeface="+mn-lt"/>
          <a:ea typeface="+mn-ea"/>
          <a:cs typeface="+mn-cs"/>
        </a:defRPr>
      </a:lvl4pPr>
      <a:lvl5pPr marL="1828343" algn="l" defTabSz="914172" rtl="0" eaLnBrk="1" latinLnBrk="0" hangingPunct="1">
        <a:defRPr sz="1800" kern="1200">
          <a:solidFill>
            <a:schemeClr val="tx1"/>
          </a:solidFill>
          <a:latin typeface="+mn-lt"/>
          <a:ea typeface="+mn-ea"/>
          <a:cs typeface="+mn-cs"/>
        </a:defRPr>
      </a:lvl5pPr>
      <a:lvl6pPr marL="2285429" algn="l" defTabSz="914172" rtl="0" eaLnBrk="1" latinLnBrk="0" hangingPunct="1">
        <a:defRPr sz="1800" kern="1200">
          <a:solidFill>
            <a:schemeClr val="tx1"/>
          </a:solidFill>
          <a:latin typeface="+mn-lt"/>
          <a:ea typeface="+mn-ea"/>
          <a:cs typeface="+mn-cs"/>
        </a:defRPr>
      </a:lvl6pPr>
      <a:lvl7pPr marL="2742514" algn="l" defTabSz="914172" rtl="0" eaLnBrk="1" latinLnBrk="0" hangingPunct="1">
        <a:defRPr sz="1800" kern="1200">
          <a:solidFill>
            <a:schemeClr val="tx1"/>
          </a:solidFill>
          <a:latin typeface="+mn-lt"/>
          <a:ea typeface="+mn-ea"/>
          <a:cs typeface="+mn-cs"/>
        </a:defRPr>
      </a:lvl7pPr>
      <a:lvl8pPr marL="3199600" algn="l" defTabSz="914172" rtl="0" eaLnBrk="1" latinLnBrk="0" hangingPunct="1">
        <a:defRPr sz="1800" kern="1200">
          <a:solidFill>
            <a:schemeClr val="tx1"/>
          </a:solidFill>
          <a:latin typeface="+mn-lt"/>
          <a:ea typeface="+mn-ea"/>
          <a:cs typeface="+mn-cs"/>
        </a:defRPr>
      </a:lvl8pPr>
      <a:lvl9pPr marL="3656686" algn="l" defTabSz="91417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D13631A-55B6-45D8-A1D2-0EAEF33467DE}"/>
              </a:ext>
            </a:extLst>
          </p:cNvPr>
          <p:cNvSpPr/>
          <p:nvPr userDrawn="1"/>
        </p:nvSpPr>
        <p:spPr>
          <a:xfrm>
            <a:off x="7405732" y="6391171"/>
            <a:ext cx="4510998" cy="307777"/>
          </a:xfrm>
          <a:prstGeom prst="rect">
            <a:avLst/>
          </a:prstGeom>
        </p:spPr>
        <p:txBody>
          <a:bodyPr wrap="square">
            <a:spAutoFit/>
          </a:bodyPr>
          <a:lstStyle/>
          <a:p>
            <a:pPr algn="r"/>
            <a:r>
              <a:rPr lang="en-US" sz="700" b="1" u="none" kern="1200">
                <a:solidFill>
                  <a:srgbClr val="A2A4A3"/>
                </a:solidFill>
                <a:latin typeface="Open Sans" panose="020B0606030504020204" pitchFamily="34" charset="0"/>
                <a:ea typeface="Open Sans" panose="020B0606030504020204" pitchFamily="34" charset="0"/>
                <a:cs typeface="Open Sans" panose="020B0606030504020204" pitchFamily="34" charset="0"/>
              </a:rPr>
              <a:t>www.bakerdonelson.com</a:t>
            </a:r>
          </a:p>
          <a:p>
            <a:pPr marL="0" marR="0" lvl="0" indent="0" algn="r" defTabSz="457200" rtl="0" eaLnBrk="1" fontAlgn="base" latinLnBrk="0" hangingPunct="1">
              <a:lnSpc>
                <a:spcPct val="100000"/>
              </a:lnSpc>
              <a:spcBef>
                <a:spcPct val="0"/>
              </a:spcBef>
              <a:spcAft>
                <a:spcPct val="0"/>
              </a:spcAft>
              <a:buClrTx/>
              <a:buSzTx/>
              <a:buFontTx/>
              <a:buNone/>
              <a:defRPr/>
            </a:pPr>
            <a:r>
              <a:rPr lang="en-US" sz="700" kern="1200">
                <a:solidFill>
                  <a:srgbClr val="A2A4A3"/>
                </a:solidFill>
                <a:latin typeface="Open Sans" panose="020B0606030504020204" pitchFamily="34" charset="0"/>
                <a:ea typeface="Open Sans" panose="020B0606030504020204" pitchFamily="34" charset="0"/>
                <a:cs typeface="Open Sans" panose="020B0606030504020204" pitchFamily="34" charset="0"/>
              </a:rPr>
              <a:t>© 2024 Baker, Donelson, Bearman, Caldwell &amp; Berkowitz, PC </a:t>
            </a:r>
            <a:r>
              <a:rPr lang="en-US" sz="700" kern="1200" baseline="0">
                <a:solidFill>
                  <a:srgbClr val="A2A4A3"/>
                </a:solidFill>
                <a:latin typeface="Open Sans" panose="020B0606030504020204" pitchFamily="34" charset="0"/>
                <a:ea typeface="Open Sans" panose="020B0606030504020204" pitchFamily="34" charset="0"/>
                <a:cs typeface="Open Sans" panose="020B0606030504020204" pitchFamily="34" charset="0"/>
              </a:rPr>
              <a:t>| Confidential</a:t>
            </a:r>
            <a:endParaRPr lang="en-US" sz="700" b="0" kern="1200">
              <a:solidFill>
                <a:srgbClr val="A2A4A3"/>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2" name="Graphic 1">
            <a:extLst>
              <a:ext uri="{FF2B5EF4-FFF2-40B4-BE49-F238E27FC236}">
                <a16:creationId xmlns:a16="http://schemas.microsoft.com/office/drawing/2014/main" id="{7D48FBEF-8AE3-46D5-85A1-56BB87B49123}"/>
              </a:ext>
            </a:extLst>
          </p:cNvPr>
          <p:cNvPicPr>
            <a:picLocks noChangeAspect="1"/>
          </p:cNvPicPr>
          <p:nvPr userDrawn="1"/>
        </p:nvPicPr>
        <p:blipFill>
          <a:blip r:embed="rId27">
            <a:extLst>
              <a:ext uri="{96DAC541-7B7A-43D3-8B79-37D633B846F1}">
                <asvg:svgBlip xmlns:asvg="http://schemas.microsoft.com/office/drawing/2016/SVG/main" r:embed="rId28"/>
              </a:ext>
            </a:extLst>
          </a:blip>
          <a:stretch>
            <a:fillRect/>
          </a:stretch>
        </p:blipFill>
        <p:spPr>
          <a:xfrm>
            <a:off x="390331" y="6420575"/>
            <a:ext cx="2743200" cy="208825"/>
          </a:xfrm>
          <a:prstGeom prst="rect">
            <a:avLst/>
          </a:prstGeom>
        </p:spPr>
      </p:pic>
    </p:spTree>
    <p:extLst>
      <p:ext uri="{BB962C8B-B14F-4D97-AF65-F5344CB8AC3E}">
        <p14:creationId xmlns:p14="http://schemas.microsoft.com/office/powerpoint/2010/main" val="1688488460"/>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Lst>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40">
          <p15:clr>
            <a:srgbClr val="F26B43"/>
          </p15:clr>
        </p15:guide>
        <p15:guide id="4" pos="7440">
          <p15:clr>
            <a:srgbClr val="F26B43"/>
          </p15:clr>
        </p15:guide>
        <p15:guide id="5" orient="horz" pos="4176">
          <p15:clr>
            <a:srgbClr val="F26B43"/>
          </p15:clr>
        </p15:guide>
        <p15:guide id="6" orient="horz" pos="3360">
          <p15:clr>
            <a:srgbClr val="F26B43"/>
          </p15:clr>
        </p15:guide>
        <p15:guide id="7" orient="horz" pos="396">
          <p15:clr>
            <a:srgbClr val="F26B43"/>
          </p15:clr>
        </p15:guide>
        <p15:guide id="8" orient="horz" pos="10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1.xml"/><Relationship Id="rId1" Type="http://schemas.openxmlformats.org/officeDocument/2006/relationships/slideLayout" Target="../slideLayouts/slideLayout2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image" Target="../media/image84.png"/><Relationship Id="rId1" Type="http://schemas.openxmlformats.org/officeDocument/2006/relationships/slideLayout" Target="../slideLayouts/slideLayout127.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12.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41.xml"/></Relationships>
</file>

<file path=ppt/slides/_rels/slide13.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8.xml"/><Relationship Id="rId1" Type="http://schemas.openxmlformats.org/officeDocument/2006/relationships/slideLayout" Target="../slideLayouts/slideLayout71.xml"/><Relationship Id="rId4" Type="http://schemas.openxmlformats.org/officeDocument/2006/relationships/image" Target="../media/image101.sv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18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3" Type="http://schemas.openxmlformats.org/officeDocument/2006/relationships/image" Target="../media/image102.gif"/><Relationship Id="rId2" Type="http://schemas.openxmlformats.org/officeDocument/2006/relationships/notesSlide" Target="../notesSlides/notesSlide10.xml"/><Relationship Id="rId1" Type="http://schemas.openxmlformats.org/officeDocument/2006/relationships/slideLayout" Target="../slideLayouts/slideLayout108.xml"/><Relationship Id="rId5" Type="http://schemas.openxmlformats.org/officeDocument/2006/relationships/image" Target="../media/image104.png"/><Relationship Id="rId4" Type="http://schemas.openxmlformats.org/officeDocument/2006/relationships/image" Target="../media/image103.gif"/></Relationships>
</file>

<file path=ppt/slides/_rels/slide24.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11.xml"/><Relationship Id="rId1" Type="http://schemas.openxmlformats.org/officeDocument/2006/relationships/slideLayout" Target="../slideLayouts/slideLayout108.xml"/></Relationships>
</file>

<file path=ppt/slides/_rels/slide25.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01.svg"/><Relationship Id="rId3" Type="http://schemas.openxmlformats.org/officeDocument/2006/relationships/image" Target="../media/image107.svg"/><Relationship Id="rId7" Type="http://schemas.openxmlformats.org/officeDocument/2006/relationships/image" Target="../media/image111.svg"/><Relationship Id="rId12" Type="http://schemas.openxmlformats.org/officeDocument/2006/relationships/image" Target="../media/image100.png"/><Relationship Id="rId2" Type="http://schemas.openxmlformats.org/officeDocument/2006/relationships/image" Target="../media/image106.png"/><Relationship Id="rId1" Type="http://schemas.openxmlformats.org/officeDocument/2006/relationships/slideLayout" Target="../slideLayouts/slideLayout88.xml"/><Relationship Id="rId6" Type="http://schemas.openxmlformats.org/officeDocument/2006/relationships/image" Target="../media/image110.png"/><Relationship Id="rId11" Type="http://schemas.openxmlformats.org/officeDocument/2006/relationships/image" Target="../media/image80.svg"/><Relationship Id="rId5" Type="http://schemas.openxmlformats.org/officeDocument/2006/relationships/image" Target="../media/image109.svg"/><Relationship Id="rId10" Type="http://schemas.openxmlformats.org/officeDocument/2006/relationships/image" Target="../media/image79.png"/><Relationship Id="rId4" Type="http://schemas.openxmlformats.org/officeDocument/2006/relationships/image" Target="../media/image108.png"/><Relationship Id="rId9" Type="http://schemas.openxmlformats.org/officeDocument/2006/relationships/image" Target="../media/image113.sv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9.xml"/></Relationships>
</file>

<file path=ppt/slides/_rels/slide27.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svg"/><Relationship Id="rId3" Type="http://schemas.openxmlformats.org/officeDocument/2006/relationships/image" Target="../media/image114.jpg"/><Relationship Id="rId7" Type="http://schemas.openxmlformats.org/officeDocument/2006/relationships/image" Target="../media/image118.svg"/><Relationship Id="rId12" Type="http://schemas.openxmlformats.org/officeDocument/2006/relationships/image" Target="../media/image123.png"/><Relationship Id="rId2" Type="http://schemas.openxmlformats.org/officeDocument/2006/relationships/notesSlide" Target="../notesSlides/notesSlide13.xml"/><Relationship Id="rId1" Type="http://schemas.openxmlformats.org/officeDocument/2006/relationships/slideLayout" Target="../slideLayouts/slideLayout120.xml"/><Relationship Id="rId6" Type="http://schemas.openxmlformats.org/officeDocument/2006/relationships/image" Target="../media/image117.png"/><Relationship Id="rId11" Type="http://schemas.openxmlformats.org/officeDocument/2006/relationships/image" Target="../media/image122.svg"/><Relationship Id="rId5" Type="http://schemas.openxmlformats.org/officeDocument/2006/relationships/image" Target="../media/image116.svg"/><Relationship Id="rId15" Type="http://schemas.openxmlformats.org/officeDocument/2006/relationships/image" Target="../media/image126.sv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svg"/><Relationship Id="rId14" Type="http://schemas.openxmlformats.org/officeDocument/2006/relationships/image" Target="../media/image125.png"/></Relationships>
</file>

<file path=ppt/slides/_rels/slide28.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notesSlide" Target="../notesSlides/notesSlide14.xml"/><Relationship Id="rId1" Type="http://schemas.openxmlformats.org/officeDocument/2006/relationships/slideLayout" Target="../slideLayouts/slideLayout121.xml"/><Relationship Id="rId5" Type="http://schemas.openxmlformats.org/officeDocument/2006/relationships/image" Target="../media/image58.jpeg"/><Relationship Id="rId4" Type="http://schemas.openxmlformats.org/officeDocument/2006/relationships/hyperlink" Target="mailto:mwhite@bakerdonelson.com"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bakerdonelson.com/" TargetMode="External"/><Relationship Id="rId2" Type="http://schemas.openxmlformats.org/officeDocument/2006/relationships/notesSlide" Target="../notesSlides/notesSlide15.xml"/><Relationship Id="rId1" Type="http://schemas.openxmlformats.org/officeDocument/2006/relationships/slideLayout" Target="../slideLayouts/slideLayout122.xml"/><Relationship Id="rId6" Type="http://schemas.openxmlformats.org/officeDocument/2006/relationships/hyperlink" Target="https://www.linkedin.com/company/baker-donelson/" TargetMode="External"/><Relationship Id="rId5" Type="http://schemas.openxmlformats.org/officeDocument/2006/relationships/hyperlink" Target="https://www.facebook.com/BakerDonelson/" TargetMode="External"/><Relationship Id="rId4" Type="http://schemas.openxmlformats.org/officeDocument/2006/relationships/hyperlink" Target="https://twitter.com/Baker_Donelson"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xml"/><Relationship Id="rId1" Type="http://schemas.openxmlformats.org/officeDocument/2006/relationships/slideLayout" Target="../slideLayouts/slideLayout217.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svg"/><Relationship Id="rId7" Type="http://schemas.openxmlformats.org/officeDocument/2006/relationships/image" Target="../media/image71.svg"/><Relationship Id="rId2" Type="http://schemas.openxmlformats.org/officeDocument/2006/relationships/image" Target="../media/image66.png"/><Relationship Id="rId1" Type="http://schemas.openxmlformats.org/officeDocument/2006/relationships/slideLayout" Target="../slideLayouts/slideLayout64.xml"/><Relationship Id="rId6" Type="http://schemas.openxmlformats.org/officeDocument/2006/relationships/image" Target="../media/image70.png"/><Relationship Id="rId5" Type="http://schemas.openxmlformats.org/officeDocument/2006/relationships/image" Target="../media/image69.svg"/><Relationship Id="rId4" Type="http://schemas.openxmlformats.org/officeDocument/2006/relationships/image" Target="../media/image68.png"/><Relationship Id="rId9" Type="http://schemas.openxmlformats.org/officeDocument/2006/relationships/image" Target="../media/image73.svg"/></Relationships>
</file>

<file path=ppt/slides/_rels/slide6.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91.xml"/></Relationships>
</file>

<file path=ppt/slides/_rels/slide7.xml.rels><?xml version="1.0" encoding="UTF-8" standalone="yes"?>
<Relationships xmlns="http://schemas.openxmlformats.org/package/2006/relationships"><Relationship Id="rId8" Type="http://schemas.openxmlformats.org/officeDocument/2006/relationships/image" Target="../media/image80.svg"/><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5.xml"/><Relationship Id="rId1" Type="http://schemas.openxmlformats.org/officeDocument/2006/relationships/slideLayout" Target="../slideLayouts/slideLayout218.xml"/><Relationship Id="rId6" Type="http://schemas.openxmlformats.org/officeDocument/2006/relationships/image" Target="../media/image78.svg"/><Relationship Id="rId5" Type="http://schemas.openxmlformats.org/officeDocument/2006/relationships/image" Target="../media/image77.png"/><Relationship Id="rId10" Type="http://schemas.openxmlformats.org/officeDocument/2006/relationships/image" Target="../media/image82.svg"/><Relationship Id="rId4" Type="http://schemas.openxmlformats.org/officeDocument/2006/relationships/image" Target="../media/image76.svg"/><Relationship Id="rId9" Type="http://schemas.openxmlformats.org/officeDocument/2006/relationships/image" Target="../media/image8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2.xml"/></Relationships>
</file>

<file path=ppt/slides/_rels/slide9.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E1B4FC0-7900-4DD7-B595-7223C430ED30}"/>
              </a:ext>
            </a:extLst>
          </p:cNvPr>
          <p:cNvSpPr>
            <a:spLocks noGrp="1"/>
          </p:cNvSpPr>
          <p:nvPr>
            <p:ph type="body" sz="quarter" idx="10"/>
          </p:nvPr>
        </p:nvSpPr>
        <p:spPr>
          <a:xfrm>
            <a:off x="381000" y="568511"/>
            <a:ext cx="11430000" cy="1430074"/>
          </a:xfrm>
        </p:spPr>
        <p:txBody>
          <a:bodyPr/>
          <a:lstStyle/>
          <a:p>
            <a:r>
              <a:rPr lang="en-US" sz="3600" dirty="0">
                <a:latin typeface="Open Sans" panose="020B0606030504020204" pitchFamily="34" charset="0"/>
                <a:ea typeface="Open Sans" panose="020B0606030504020204" pitchFamily="34" charset="0"/>
                <a:cs typeface="Open Sans" panose="020B0606030504020204" pitchFamily="34" charset="0"/>
              </a:rPr>
              <a:t>Cybersecurity: Top Trends, Tactics, and Threats</a:t>
            </a:r>
            <a:endParaRPr lang="en-US" sz="800" dirty="0">
              <a:latin typeface="Open Sans" panose="020B0606030504020204" pitchFamily="34" charset="0"/>
              <a:ea typeface="Open Sans" panose="020B0606030504020204" pitchFamily="34" charset="0"/>
              <a:cs typeface="Open Sans" panose="020B0606030504020204" pitchFamily="34" charset="0"/>
            </a:endParaRPr>
          </a:p>
          <a:p>
            <a:r>
              <a:rPr lang="en-US" sz="1600" i="1" dirty="0" err="1">
                <a:latin typeface="Open Sans" panose="020B0606030504020204" pitchFamily="34" charset="0"/>
                <a:ea typeface="Open Sans" panose="020B0606030504020204" pitchFamily="34" charset="0"/>
                <a:cs typeface="Open Sans" panose="020B0606030504020204" pitchFamily="34" charset="0"/>
              </a:rPr>
              <a:t>FMA</a:t>
            </a:r>
            <a:r>
              <a:rPr lang="en-US" sz="1600" i="1" dirty="0">
                <a:latin typeface="Open Sans" panose="020B0606030504020204" pitchFamily="34" charset="0"/>
                <a:ea typeface="Open Sans" panose="020B0606030504020204" pitchFamily="34" charset="0"/>
                <a:cs typeface="Open Sans" panose="020B0606030504020204" pitchFamily="34" charset="0"/>
              </a:rPr>
              <a:t> Securities Compliance Seminar</a:t>
            </a:r>
          </a:p>
        </p:txBody>
      </p:sp>
      <p:sp>
        <p:nvSpPr>
          <p:cNvPr id="3" name="Text Placeholder 2">
            <a:extLst>
              <a:ext uri="{FF2B5EF4-FFF2-40B4-BE49-F238E27FC236}">
                <a16:creationId xmlns:a16="http://schemas.microsoft.com/office/drawing/2014/main" id="{FD21C025-08F2-4F10-AC28-28A4FD22BC20}"/>
              </a:ext>
            </a:extLst>
          </p:cNvPr>
          <p:cNvSpPr>
            <a:spLocks noGrp="1"/>
          </p:cNvSpPr>
          <p:nvPr>
            <p:ph type="body" sz="quarter" idx="11"/>
          </p:nvPr>
        </p:nvSpPr>
        <p:spPr/>
        <p:txBody>
          <a:bodyPr/>
          <a:lstStyle/>
          <a:p>
            <a:r>
              <a:rPr lang="en-US" sz="1800" dirty="0">
                <a:latin typeface="Poppins" panose="00000500000000000000" pitchFamily="2" charset="0"/>
                <a:cs typeface="Poppins" panose="00000500000000000000" pitchFamily="2" charset="0"/>
              </a:rPr>
              <a:t>April 23, 2025</a:t>
            </a:r>
          </a:p>
          <a:p>
            <a:endParaRPr lang="en-US" dirty="0"/>
          </a:p>
        </p:txBody>
      </p:sp>
      <p:sp>
        <p:nvSpPr>
          <p:cNvPr id="8" name="Text Placeholder 3">
            <a:extLst>
              <a:ext uri="{FF2B5EF4-FFF2-40B4-BE49-F238E27FC236}">
                <a16:creationId xmlns:a16="http://schemas.microsoft.com/office/drawing/2014/main" id="{72DC604C-2FA4-4AC9-8260-F6C423B364BF}"/>
              </a:ext>
            </a:extLst>
          </p:cNvPr>
          <p:cNvSpPr txBox="1">
            <a:spLocks/>
          </p:cNvSpPr>
          <p:nvPr/>
        </p:nvSpPr>
        <p:spPr>
          <a:xfrm>
            <a:off x="3243166" y="4775002"/>
            <a:ext cx="5705669" cy="1828800"/>
          </a:xfrm>
          <a:prstGeom prst="rect">
            <a:avLst/>
          </a:prstGeom>
        </p:spPr>
        <p:txBody>
          <a:bodyPr/>
          <a:lstStyle>
            <a:lvl1pPr marL="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ctr" defTabSz="914400" rtl="0" eaLnBrk="1" latinLnBrk="0" hangingPunct="1">
              <a:lnSpc>
                <a:spcPct val="100000"/>
              </a:lnSpc>
              <a:spcBef>
                <a:spcPts val="300"/>
              </a:spcBef>
              <a:buFont typeface="Arial" panose="020B0604020202020204" pitchFamily="34" charset="0"/>
              <a:buNone/>
              <a:defRPr sz="1400" kern="1200" spc="300" baseline="0">
                <a:solidFill>
                  <a:schemeClr val="bg2"/>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all"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att White</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AIGP</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PP</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US, CIPP/E,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PT</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CIPM</a:t>
            </a: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200" b="0" i="0" u="none" strike="noStrike" kern="1200" cap="none" spc="300" normalizeH="0" baseline="0" noProof="0" dirty="0" err="1">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PCIP</a:t>
            </a:r>
            <a:endPar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HAREHOLDER, BAKER DONELSON</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EMPHIS, TN</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901.577.8182</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300" normalizeH="0" baseline="0" noProof="0" dirty="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white@bakerdonelson.com</a:t>
            </a:r>
          </a:p>
        </p:txBody>
      </p:sp>
      <p:pic>
        <p:nvPicPr>
          <p:cNvPr id="4" name="Picture 3">
            <a:extLst>
              <a:ext uri="{FF2B5EF4-FFF2-40B4-BE49-F238E27FC236}">
                <a16:creationId xmlns:a16="http://schemas.microsoft.com/office/drawing/2014/main" id="{A73D6B0E-A05C-A7CD-EB19-CB8192D815BB}"/>
              </a:ext>
            </a:extLst>
          </p:cNvPr>
          <p:cNvPicPr>
            <a:picLocks noChangeAspect="1"/>
          </p:cNvPicPr>
          <p:nvPr/>
        </p:nvPicPr>
        <p:blipFill>
          <a:blip r:embed="rId3"/>
          <a:stretch>
            <a:fillRect/>
          </a:stretch>
        </p:blipFill>
        <p:spPr>
          <a:xfrm>
            <a:off x="5410200" y="3308633"/>
            <a:ext cx="1371600" cy="1371600"/>
          </a:xfrm>
          <a:prstGeom prst="ellipse">
            <a:avLst/>
          </a:prstGeom>
        </p:spPr>
      </p:pic>
    </p:spTree>
    <p:extLst>
      <p:ext uri="{BB962C8B-B14F-4D97-AF65-F5344CB8AC3E}">
        <p14:creationId xmlns:p14="http://schemas.microsoft.com/office/powerpoint/2010/main" val="2733097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7FEE3E7-A81A-431C-B227-86207E787584}"/>
              </a:ext>
            </a:extLst>
          </p:cNvPr>
          <p:cNvSpPr>
            <a:spLocks noGrp="1"/>
          </p:cNvSpPr>
          <p:nvPr>
            <p:ph type="body" sz="quarter" idx="12"/>
          </p:nvPr>
        </p:nvSpPr>
        <p:spPr/>
        <p:txBody>
          <a:bodyPr/>
          <a:lstStyle/>
          <a:p>
            <a:r>
              <a:rPr lang="en-US" dirty="0">
                <a:latin typeface="Poppins" panose="00000500000000000000" pitchFamily="2" charset="0"/>
                <a:cs typeface="Poppins" panose="00000500000000000000" pitchFamily="2" charset="0"/>
              </a:rPr>
              <a:t>IN THE NEWS</a:t>
            </a:r>
          </a:p>
        </p:txBody>
      </p:sp>
      <p:sp>
        <p:nvSpPr>
          <p:cNvPr id="9" name="Text Placeholder 8">
            <a:extLst>
              <a:ext uri="{FF2B5EF4-FFF2-40B4-BE49-F238E27FC236}">
                <a16:creationId xmlns:a16="http://schemas.microsoft.com/office/drawing/2014/main" id="{5DE6BB4C-48B7-4F61-B98A-3FCF46E83B4F}"/>
              </a:ext>
            </a:extLst>
          </p:cNvPr>
          <p:cNvSpPr>
            <a:spLocks noGrp="1"/>
          </p:cNvSpPr>
          <p:nvPr>
            <p:ph type="body" sz="quarter" idx="13"/>
          </p:nvPr>
        </p:nvSpPr>
        <p:spPr/>
        <p:txBody>
          <a:bodyPr/>
          <a:lstStyle/>
          <a:p>
            <a:r>
              <a:rPr lang="en-US" sz="1600" dirty="0">
                <a:latin typeface="Poppins" panose="00000500000000000000" pitchFamily="2" charset="0"/>
                <a:cs typeface="Poppins" panose="00000500000000000000" pitchFamily="2" charset="0"/>
              </a:rPr>
              <a:t>Key takeaways from recent, high-profile cyberattacks</a:t>
            </a:r>
          </a:p>
        </p:txBody>
      </p:sp>
    </p:spTree>
    <p:extLst>
      <p:ext uri="{BB962C8B-B14F-4D97-AF65-F5344CB8AC3E}">
        <p14:creationId xmlns:p14="http://schemas.microsoft.com/office/powerpoint/2010/main" val="2257749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56CAFC1-3FB6-9C1A-337A-3F19AD486B2E}"/>
              </a:ext>
            </a:extLst>
          </p:cNvPr>
          <p:cNvPicPr>
            <a:picLocks noChangeAspect="1"/>
          </p:cNvPicPr>
          <p:nvPr/>
        </p:nvPicPr>
        <p:blipFill>
          <a:blip r:embed="rId2"/>
          <a:stretch>
            <a:fillRect/>
          </a:stretch>
        </p:blipFill>
        <p:spPr>
          <a:xfrm>
            <a:off x="6412317" y="102275"/>
            <a:ext cx="4128482" cy="1094970"/>
          </a:xfrm>
          <a:prstGeom prst="rect">
            <a:avLst/>
          </a:prstGeom>
        </p:spPr>
      </p:pic>
      <p:pic>
        <p:nvPicPr>
          <p:cNvPr id="5" name="Picture 4">
            <a:extLst>
              <a:ext uri="{FF2B5EF4-FFF2-40B4-BE49-F238E27FC236}">
                <a16:creationId xmlns:a16="http://schemas.microsoft.com/office/drawing/2014/main" id="{71A7FE76-9DE3-5541-9BFB-6D5818AC3220}"/>
              </a:ext>
            </a:extLst>
          </p:cNvPr>
          <p:cNvPicPr>
            <a:picLocks noChangeAspect="1"/>
          </p:cNvPicPr>
          <p:nvPr/>
        </p:nvPicPr>
        <p:blipFill>
          <a:blip r:embed="rId3"/>
          <a:stretch>
            <a:fillRect/>
          </a:stretch>
        </p:blipFill>
        <p:spPr>
          <a:xfrm>
            <a:off x="1920442" y="2469808"/>
            <a:ext cx="6184343" cy="737428"/>
          </a:xfrm>
          <a:prstGeom prst="rect">
            <a:avLst/>
          </a:prstGeom>
        </p:spPr>
      </p:pic>
      <p:pic>
        <p:nvPicPr>
          <p:cNvPr id="6" name="Picture 5">
            <a:extLst>
              <a:ext uri="{FF2B5EF4-FFF2-40B4-BE49-F238E27FC236}">
                <a16:creationId xmlns:a16="http://schemas.microsoft.com/office/drawing/2014/main" id="{5D4F93F5-EEE2-1D26-FFB1-F7E94305D74B}"/>
              </a:ext>
            </a:extLst>
          </p:cNvPr>
          <p:cNvPicPr>
            <a:picLocks noChangeAspect="1"/>
          </p:cNvPicPr>
          <p:nvPr/>
        </p:nvPicPr>
        <p:blipFill>
          <a:blip r:embed="rId4"/>
          <a:stretch>
            <a:fillRect/>
          </a:stretch>
        </p:blipFill>
        <p:spPr>
          <a:xfrm>
            <a:off x="678558" y="1673767"/>
            <a:ext cx="4446917" cy="608937"/>
          </a:xfrm>
          <a:prstGeom prst="rect">
            <a:avLst/>
          </a:prstGeom>
        </p:spPr>
      </p:pic>
      <p:pic>
        <p:nvPicPr>
          <p:cNvPr id="7" name="Picture 6">
            <a:extLst>
              <a:ext uri="{FF2B5EF4-FFF2-40B4-BE49-F238E27FC236}">
                <a16:creationId xmlns:a16="http://schemas.microsoft.com/office/drawing/2014/main" id="{C8792D68-9832-7288-5C82-F386AC7FE9CA}"/>
              </a:ext>
            </a:extLst>
          </p:cNvPr>
          <p:cNvPicPr>
            <a:picLocks noChangeAspect="1"/>
          </p:cNvPicPr>
          <p:nvPr/>
        </p:nvPicPr>
        <p:blipFill>
          <a:blip r:embed="rId5"/>
          <a:stretch>
            <a:fillRect/>
          </a:stretch>
        </p:blipFill>
        <p:spPr>
          <a:xfrm>
            <a:off x="8926434" y="1366359"/>
            <a:ext cx="2938541" cy="1379885"/>
          </a:xfrm>
          <a:prstGeom prst="rect">
            <a:avLst/>
          </a:prstGeom>
        </p:spPr>
      </p:pic>
      <p:pic>
        <p:nvPicPr>
          <p:cNvPr id="8" name="Picture 7">
            <a:extLst>
              <a:ext uri="{FF2B5EF4-FFF2-40B4-BE49-F238E27FC236}">
                <a16:creationId xmlns:a16="http://schemas.microsoft.com/office/drawing/2014/main" id="{EF3FAD70-A0BF-FA59-9C19-7E089E0CD5A8}"/>
              </a:ext>
            </a:extLst>
          </p:cNvPr>
          <p:cNvPicPr>
            <a:picLocks noChangeAspect="1"/>
          </p:cNvPicPr>
          <p:nvPr/>
        </p:nvPicPr>
        <p:blipFill>
          <a:blip r:embed="rId6"/>
          <a:stretch>
            <a:fillRect/>
          </a:stretch>
        </p:blipFill>
        <p:spPr>
          <a:xfrm>
            <a:off x="8476558" y="2988139"/>
            <a:ext cx="3608930" cy="1508376"/>
          </a:xfrm>
          <a:prstGeom prst="rect">
            <a:avLst/>
          </a:prstGeom>
        </p:spPr>
      </p:pic>
      <p:pic>
        <p:nvPicPr>
          <p:cNvPr id="9" name="Picture 8">
            <a:extLst>
              <a:ext uri="{FF2B5EF4-FFF2-40B4-BE49-F238E27FC236}">
                <a16:creationId xmlns:a16="http://schemas.microsoft.com/office/drawing/2014/main" id="{115739C6-1442-3B83-F380-9B18E69949CA}"/>
              </a:ext>
            </a:extLst>
          </p:cNvPr>
          <p:cNvPicPr>
            <a:picLocks noChangeAspect="1"/>
          </p:cNvPicPr>
          <p:nvPr/>
        </p:nvPicPr>
        <p:blipFill>
          <a:blip r:embed="rId7"/>
          <a:stretch>
            <a:fillRect/>
          </a:stretch>
        </p:blipFill>
        <p:spPr>
          <a:xfrm>
            <a:off x="450175" y="4495127"/>
            <a:ext cx="4530716" cy="910612"/>
          </a:xfrm>
          <a:prstGeom prst="rect">
            <a:avLst/>
          </a:prstGeom>
        </p:spPr>
      </p:pic>
      <p:pic>
        <p:nvPicPr>
          <p:cNvPr id="10" name="Picture 9">
            <a:extLst>
              <a:ext uri="{FF2B5EF4-FFF2-40B4-BE49-F238E27FC236}">
                <a16:creationId xmlns:a16="http://schemas.microsoft.com/office/drawing/2014/main" id="{4B25C79D-9C9E-4FD6-2FB6-5966AB97866A}"/>
              </a:ext>
            </a:extLst>
          </p:cNvPr>
          <p:cNvPicPr>
            <a:picLocks noChangeAspect="1"/>
          </p:cNvPicPr>
          <p:nvPr/>
        </p:nvPicPr>
        <p:blipFill>
          <a:blip r:embed="rId8"/>
          <a:stretch>
            <a:fillRect/>
          </a:stretch>
        </p:blipFill>
        <p:spPr>
          <a:xfrm>
            <a:off x="4359081" y="3473594"/>
            <a:ext cx="4011164" cy="927372"/>
          </a:xfrm>
          <a:prstGeom prst="rect">
            <a:avLst/>
          </a:prstGeom>
        </p:spPr>
      </p:pic>
      <p:pic>
        <p:nvPicPr>
          <p:cNvPr id="11" name="Picture 10">
            <a:extLst>
              <a:ext uri="{FF2B5EF4-FFF2-40B4-BE49-F238E27FC236}">
                <a16:creationId xmlns:a16="http://schemas.microsoft.com/office/drawing/2014/main" id="{44E6947E-A110-F6DF-2B50-2598D4DAB6EF}"/>
              </a:ext>
            </a:extLst>
          </p:cNvPr>
          <p:cNvPicPr>
            <a:picLocks noChangeAspect="1"/>
          </p:cNvPicPr>
          <p:nvPr/>
        </p:nvPicPr>
        <p:blipFill>
          <a:blip r:embed="rId9"/>
          <a:stretch>
            <a:fillRect/>
          </a:stretch>
        </p:blipFill>
        <p:spPr>
          <a:xfrm>
            <a:off x="5135958" y="4667324"/>
            <a:ext cx="6570396" cy="720732"/>
          </a:xfrm>
          <a:prstGeom prst="rect">
            <a:avLst/>
          </a:prstGeom>
        </p:spPr>
      </p:pic>
      <p:pic>
        <p:nvPicPr>
          <p:cNvPr id="12" name="Picture 11">
            <a:extLst>
              <a:ext uri="{FF2B5EF4-FFF2-40B4-BE49-F238E27FC236}">
                <a16:creationId xmlns:a16="http://schemas.microsoft.com/office/drawing/2014/main" id="{07B37881-D407-FAEF-5AF6-4226836B3ADE}"/>
              </a:ext>
            </a:extLst>
          </p:cNvPr>
          <p:cNvPicPr>
            <a:picLocks noChangeAspect="1"/>
          </p:cNvPicPr>
          <p:nvPr/>
        </p:nvPicPr>
        <p:blipFill>
          <a:blip r:embed="rId10"/>
          <a:stretch>
            <a:fillRect/>
          </a:stretch>
        </p:blipFill>
        <p:spPr>
          <a:xfrm>
            <a:off x="3689164" y="5565264"/>
            <a:ext cx="5078649" cy="913486"/>
          </a:xfrm>
          <a:prstGeom prst="rect">
            <a:avLst/>
          </a:prstGeom>
        </p:spPr>
      </p:pic>
      <p:pic>
        <p:nvPicPr>
          <p:cNvPr id="13" name="Picture 12">
            <a:extLst>
              <a:ext uri="{FF2B5EF4-FFF2-40B4-BE49-F238E27FC236}">
                <a16:creationId xmlns:a16="http://schemas.microsoft.com/office/drawing/2014/main" id="{C62C54B5-3999-6BC7-DE22-D53DE510C6DF}"/>
              </a:ext>
            </a:extLst>
          </p:cNvPr>
          <p:cNvPicPr>
            <a:picLocks noChangeAspect="1"/>
          </p:cNvPicPr>
          <p:nvPr/>
        </p:nvPicPr>
        <p:blipFill>
          <a:blip r:embed="rId11"/>
          <a:stretch>
            <a:fillRect/>
          </a:stretch>
        </p:blipFill>
        <p:spPr>
          <a:xfrm>
            <a:off x="215179" y="3384453"/>
            <a:ext cx="3952011" cy="529319"/>
          </a:xfrm>
          <a:prstGeom prst="rect">
            <a:avLst/>
          </a:prstGeom>
        </p:spPr>
      </p:pic>
      <p:pic>
        <p:nvPicPr>
          <p:cNvPr id="14" name="Picture 13">
            <a:extLst>
              <a:ext uri="{FF2B5EF4-FFF2-40B4-BE49-F238E27FC236}">
                <a16:creationId xmlns:a16="http://schemas.microsoft.com/office/drawing/2014/main" id="{4F7EB6E5-B2B1-AF27-3E75-4DA7A14004FA}"/>
              </a:ext>
            </a:extLst>
          </p:cNvPr>
          <p:cNvPicPr>
            <a:picLocks noChangeAspect="1"/>
          </p:cNvPicPr>
          <p:nvPr/>
        </p:nvPicPr>
        <p:blipFill>
          <a:blip r:embed="rId12"/>
          <a:stretch>
            <a:fillRect/>
          </a:stretch>
        </p:blipFill>
        <p:spPr>
          <a:xfrm>
            <a:off x="5347763" y="1724672"/>
            <a:ext cx="3356383" cy="478778"/>
          </a:xfrm>
          <a:prstGeom prst="rect">
            <a:avLst/>
          </a:prstGeom>
        </p:spPr>
      </p:pic>
      <p:sp>
        <p:nvSpPr>
          <p:cNvPr id="15" name="Text Placeholder 1">
            <a:extLst>
              <a:ext uri="{FF2B5EF4-FFF2-40B4-BE49-F238E27FC236}">
                <a16:creationId xmlns:a16="http://schemas.microsoft.com/office/drawing/2014/main" id="{8776C3E8-6E88-3232-41A5-8467B6BE8E79}"/>
              </a:ext>
            </a:extLst>
          </p:cNvPr>
          <p:cNvSpPr txBox="1">
            <a:spLocks/>
          </p:cNvSpPr>
          <p:nvPr/>
        </p:nvSpPr>
        <p:spPr>
          <a:xfrm>
            <a:off x="390331" y="376361"/>
            <a:ext cx="4957432" cy="5029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400" b="0" i="0" u="none" strike="noStrike" kern="1200" cap="none" spc="0" normalizeH="0" baseline="0" noProof="0" dirty="0">
                <a:ln>
                  <a:noFill/>
                </a:ln>
                <a:solidFill>
                  <a:srgbClr val="FFFFFF"/>
                </a:solidFill>
                <a:effectLst/>
                <a:uLnTx/>
                <a:uFillTx/>
                <a:latin typeface="Open Sans"/>
                <a:ea typeface="+mn-ea"/>
                <a:cs typeface="+mn-cs"/>
              </a:rPr>
              <a:t>HEADLINES AND RECENT ATTACKS</a:t>
            </a:r>
          </a:p>
        </p:txBody>
      </p:sp>
    </p:spTree>
    <p:extLst>
      <p:ext uri="{BB962C8B-B14F-4D97-AF65-F5344CB8AC3E}">
        <p14:creationId xmlns:p14="http://schemas.microsoft.com/office/powerpoint/2010/main" val="10909667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03C19A-7D1B-196D-1A73-91FC61FEECB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26E365D-9A9E-2AF9-C7B0-E4702F6A31B8}"/>
              </a:ext>
            </a:extLst>
          </p:cNvPr>
          <p:cNvSpPr>
            <a:spLocks noGrp="1"/>
          </p:cNvSpPr>
          <p:nvPr>
            <p:ph type="body" sz="quarter" idx="18"/>
          </p:nvPr>
        </p:nvSpPr>
        <p:spPr>
          <a:xfrm>
            <a:off x="6096000" y="1382234"/>
            <a:ext cx="5724331" cy="4756630"/>
          </a:xfrm>
        </p:spPr>
        <p:txBody>
          <a:bodyPr/>
          <a:lstStyle/>
          <a:p>
            <a:pPr>
              <a:spcBef>
                <a:spcPts val="0"/>
              </a:spcBef>
            </a:pPr>
            <a:r>
              <a:rPr lang="en-US" dirty="0">
                <a:solidFill>
                  <a:srgbClr val="002060"/>
                </a:solidFill>
              </a:rPr>
              <a:t>In February, the </a:t>
            </a:r>
            <a:r>
              <a:rPr lang="en-US" dirty="0">
                <a:solidFill>
                  <a:srgbClr val="FF0000"/>
                </a:solidFill>
              </a:rPr>
              <a:t>OCC disclosed that an unauthorized user accessed “a number” of OCC user accounts</a:t>
            </a:r>
            <a:r>
              <a:rPr lang="en-US" dirty="0">
                <a:solidFill>
                  <a:srgbClr val="002060"/>
                </a:solidFill>
              </a:rPr>
              <a:t>, including emails and attachments.  </a:t>
            </a:r>
          </a:p>
          <a:p>
            <a:pPr>
              <a:spcBef>
                <a:spcPts val="0"/>
              </a:spcBef>
            </a:pPr>
            <a:endParaRPr lang="en-US" dirty="0">
              <a:solidFill>
                <a:srgbClr val="002060"/>
              </a:solidFill>
            </a:endParaRPr>
          </a:p>
          <a:p>
            <a:pPr>
              <a:spcBef>
                <a:spcPts val="0"/>
              </a:spcBef>
            </a:pPr>
            <a:r>
              <a:rPr lang="en-US" dirty="0">
                <a:solidFill>
                  <a:srgbClr val="002060"/>
                </a:solidFill>
              </a:rPr>
              <a:t>Over 100 email accounts were compromised  and included </a:t>
            </a:r>
            <a:r>
              <a:rPr lang="en-US" dirty="0">
                <a:solidFill>
                  <a:srgbClr val="FF0000"/>
                </a:solidFill>
              </a:rPr>
              <a:t>“highly sensitive information”</a:t>
            </a:r>
            <a:r>
              <a:rPr lang="en-US" dirty="0">
                <a:solidFill>
                  <a:srgbClr val="002060"/>
                </a:solidFill>
              </a:rPr>
              <a:t> relating to the financial condition of regulated institutions.</a:t>
            </a:r>
          </a:p>
          <a:p>
            <a:pPr>
              <a:spcBef>
                <a:spcPts val="0"/>
              </a:spcBef>
            </a:pPr>
            <a:endParaRPr lang="en-US" dirty="0">
              <a:solidFill>
                <a:srgbClr val="002060"/>
              </a:solidFill>
            </a:endParaRPr>
          </a:p>
          <a:p>
            <a:pPr>
              <a:spcBef>
                <a:spcPts val="0"/>
              </a:spcBef>
            </a:pPr>
            <a:r>
              <a:rPr lang="en-US" dirty="0">
                <a:solidFill>
                  <a:srgbClr val="002060"/>
                </a:solidFill>
              </a:rPr>
              <a:t>OCC recently stated that it plans to contact financial institutions and advise if their data was exposed.</a:t>
            </a:r>
          </a:p>
          <a:p>
            <a:pPr>
              <a:spcBef>
                <a:spcPts val="0"/>
              </a:spcBef>
            </a:pPr>
            <a:endParaRPr lang="en-US" dirty="0">
              <a:solidFill>
                <a:srgbClr val="002060"/>
              </a:solidFill>
            </a:endParaRPr>
          </a:p>
          <a:p>
            <a:pPr>
              <a:spcBef>
                <a:spcPts val="0"/>
              </a:spcBef>
            </a:pPr>
            <a:r>
              <a:rPr lang="en-US" dirty="0">
                <a:solidFill>
                  <a:srgbClr val="002060"/>
                </a:solidFill>
              </a:rPr>
              <a:t>Several large banks have </a:t>
            </a:r>
            <a:r>
              <a:rPr lang="en-US" dirty="0">
                <a:solidFill>
                  <a:srgbClr val="FF0000"/>
                </a:solidFill>
              </a:rPr>
              <a:t>paused electronic information sharing</a:t>
            </a:r>
            <a:r>
              <a:rPr lang="en-US" dirty="0">
                <a:solidFill>
                  <a:srgbClr val="002060"/>
                </a:solidFill>
              </a:rPr>
              <a:t> with the OCC. </a:t>
            </a:r>
          </a:p>
          <a:p>
            <a:pPr>
              <a:spcBef>
                <a:spcPts val="0"/>
              </a:spcBef>
            </a:pPr>
            <a:endParaRPr lang="en-US" dirty="0">
              <a:solidFill>
                <a:srgbClr val="002060"/>
              </a:solidFill>
            </a:endParaRPr>
          </a:p>
        </p:txBody>
      </p:sp>
      <p:sp>
        <p:nvSpPr>
          <p:cNvPr id="4" name="Text Placeholder 3">
            <a:extLst>
              <a:ext uri="{FF2B5EF4-FFF2-40B4-BE49-F238E27FC236}">
                <a16:creationId xmlns:a16="http://schemas.microsoft.com/office/drawing/2014/main" id="{EE6F402D-E113-ABBD-43D7-FFEC6B464C21}"/>
              </a:ext>
            </a:extLst>
          </p:cNvPr>
          <p:cNvSpPr>
            <a:spLocks noGrp="1"/>
          </p:cNvSpPr>
          <p:nvPr>
            <p:ph type="body" sz="quarter" idx="15"/>
          </p:nvPr>
        </p:nvSpPr>
        <p:spPr>
          <a:xfrm>
            <a:off x="381000" y="376361"/>
            <a:ext cx="11430000" cy="502920"/>
          </a:xfrm>
        </p:spPr>
        <p:txBody>
          <a:bodyPr/>
          <a:lstStyle/>
          <a:p>
            <a:r>
              <a:rPr lang="en-US" b="1" dirty="0">
                <a:solidFill>
                  <a:srgbClr val="002060"/>
                </a:solidFill>
              </a:rPr>
              <a:t>OFFICE OF THE COMPTROLLER OF THE CURRENCY</a:t>
            </a:r>
          </a:p>
        </p:txBody>
      </p:sp>
      <p:pic>
        <p:nvPicPr>
          <p:cNvPr id="2" name="Picture 1">
            <a:extLst>
              <a:ext uri="{FF2B5EF4-FFF2-40B4-BE49-F238E27FC236}">
                <a16:creationId xmlns:a16="http://schemas.microsoft.com/office/drawing/2014/main" id="{15EC6A95-C838-435E-62C4-EF2BCD2464B0}"/>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212789" y="2095500"/>
            <a:ext cx="3731809" cy="26670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1081923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F422CB-DD7E-EEBA-70D5-4F12DD743CC5}"/>
              </a:ext>
            </a:extLst>
          </p:cNvPr>
          <p:cNvSpPr>
            <a:spLocks noGrp="1"/>
          </p:cNvSpPr>
          <p:nvPr>
            <p:ph type="body" sz="quarter" idx="18"/>
          </p:nvPr>
        </p:nvSpPr>
        <p:spPr>
          <a:xfrm>
            <a:off x="6096000" y="1382234"/>
            <a:ext cx="5724331" cy="4756630"/>
          </a:xfrm>
        </p:spPr>
        <p:txBody>
          <a:bodyPr/>
          <a:lstStyle/>
          <a:p>
            <a:pPr>
              <a:spcBef>
                <a:spcPts val="0"/>
              </a:spcBef>
            </a:pPr>
            <a:endParaRPr lang="en-US" dirty="0">
              <a:solidFill>
                <a:srgbClr val="002060"/>
              </a:solidFill>
            </a:endParaRPr>
          </a:p>
          <a:p>
            <a:pPr>
              <a:spcBef>
                <a:spcPts val="0"/>
              </a:spcBef>
            </a:pPr>
            <a:r>
              <a:rPr lang="en-US" dirty="0">
                <a:solidFill>
                  <a:srgbClr val="002060"/>
                </a:solidFill>
              </a:rPr>
              <a:t>In February 2025, TD Bank disclosed a breach upon discovering that </a:t>
            </a:r>
            <a:r>
              <a:rPr lang="en-US" dirty="0">
                <a:solidFill>
                  <a:srgbClr val="FF0000"/>
                </a:solidFill>
              </a:rPr>
              <a:t>a former employee improperly accessed and shared </a:t>
            </a:r>
            <a:r>
              <a:rPr lang="en-US" dirty="0">
                <a:solidFill>
                  <a:srgbClr val="002060"/>
                </a:solidFill>
              </a:rPr>
              <a:t>sensitive customer information. </a:t>
            </a:r>
          </a:p>
          <a:p>
            <a:pPr>
              <a:spcBef>
                <a:spcPts val="0"/>
              </a:spcBef>
            </a:pPr>
            <a:endParaRPr lang="en-US" dirty="0">
              <a:solidFill>
                <a:srgbClr val="002060"/>
              </a:solidFill>
            </a:endParaRPr>
          </a:p>
          <a:p>
            <a:pPr>
              <a:spcBef>
                <a:spcPts val="0"/>
              </a:spcBef>
            </a:pPr>
            <a:r>
              <a:rPr lang="en-US" dirty="0">
                <a:solidFill>
                  <a:srgbClr val="002060"/>
                </a:solidFill>
              </a:rPr>
              <a:t>Activity purportedly occurred between August-December 2024.</a:t>
            </a:r>
          </a:p>
          <a:p>
            <a:pPr>
              <a:spcBef>
                <a:spcPts val="0"/>
              </a:spcBef>
            </a:pPr>
            <a:endParaRPr lang="en-US" dirty="0">
              <a:solidFill>
                <a:srgbClr val="002060"/>
              </a:solidFill>
            </a:endParaRPr>
          </a:p>
          <a:p>
            <a:pPr>
              <a:spcBef>
                <a:spcPts val="0"/>
              </a:spcBef>
            </a:pPr>
            <a:r>
              <a:rPr lang="en-US" dirty="0">
                <a:solidFill>
                  <a:srgbClr val="002060"/>
                </a:solidFill>
              </a:rPr>
              <a:t>Impacted customers </a:t>
            </a:r>
            <a:r>
              <a:rPr lang="en-US" dirty="0">
                <a:solidFill>
                  <a:srgbClr val="FF0000"/>
                </a:solidFill>
              </a:rPr>
              <a:t>experienced fraudulent activity </a:t>
            </a:r>
            <a:r>
              <a:rPr lang="en-US" dirty="0">
                <a:solidFill>
                  <a:srgbClr val="002060"/>
                </a:solidFill>
              </a:rPr>
              <a:t>on their financial accounts.</a:t>
            </a:r>
          </a:p>
          <a:p>
            <a:pPr>
              <a:spcBef>
                <a:spcPts val="0"/>
              </a:spcBef>
            </a:pPr>
            <a:endParaRPr lang="en-US" dirty="0">
              <a:solidFill>
                <a:srgbClr val="002060"/>
              </a:solidFill>
            </a:endParaRPr>
          </a:p>
          <a:p>
            <a:pPr>
              <a:spcBef>
                <a:spcPts val="0"/>
              </a:spcBef>
            </a:pPr>
            <a:r>
              <a:rPr lang="en-US" dirty="0">
                <a:solidFill>
                  <a:srgbClr val="002060"/>
                </a:solidFill>
              </a:rPr>
              <a:t>At least once </a:t>
            </a:r>
            <a:r>
              <a:rPr lang="en-US" dirty="0">
                <a:solidFill>
                  <a:srgbClr val="FF0000"/>
                </a:solidFill>
              </a:rPr>
              <a:t>class action lawsuit </a:t>
            </a:r>
            <a:r>
              <a:rPr lang="en-US" dirty="0">
                <a:solidFill>
                  <a:srgbClr val="002060"/>
                </a:solidFill>
              </a:rPr>
              <a:t>has been filed as a result of the incident.</a:t>
            </a:r>
          </a:p>
          <a:p>
            <a:pPr>
              <a:spcBef>
                <a:spcPts val="0"/>
              </a:spcBef>
            </a:pPr>
            <a:endParaRPr lang="en-US" dirty="0">
              <a:solidFill>
                <a:srgbClr val="002060"/>
              </a:solidFill>
            </a:endParaRPr>
          </a:p>
        </p:txBody>
      </p:sp>
      <p:sp>
        <p:nvSpPr>
          <p:cNvPr id="4" name="Text Placeholder 3">
            <a:extLst>
              <a:ext uri="{FF2B5EF4-FFF2-40B4-BE49-F238E27FC236}">
                <a16:creationId xmlns:a16="http://schemas.microsoft.com/office/drawing/2014/main" id="{A4377528-2AD5-D926-E8E0-214B4AD1514F}"/>
              </a:ext>
            </a:extLst>
          </p:cNvPr>
          <p:cNvSpPr>
            <a:spLocks noGrp="1"/>
          </p:cNvSpPr>
          <p:nvPr>
            <p:ph type="body" sz="quarter" idx="15"/>
          </p:nvPr>
        </p:nvSpPr>
        <p:spPr>
          <a:xfrm>
            <a:off x="381000" y="376361"/>
            <a:ext cx="11430000" cy="502920"/>
          </a:xfrm>
        </p:spPr>
        <p:txBody>
          <a:bodyPr/>
          <a:lstStyle/>
          <a:p>
            <a:r>
              <a:rPr lang="en-US" b="1" dirty="0">
                <a:solidFill>
                  <a:srgbClr val="002060"/>
                </a:solidFill>
              </a:rPr>
              <a:t>TD BANK</a:t>
            </a:r>
          </a:p>
        </p:txBody>
      </p:sp>
      <p:pic>
        <p:nvPicPr>
          <p:cNvPr id="2" name="Picture 1">
            <a:extLst>
              <a:ext uri="{FF2B5EF4-FFF2-40B4-BE49-F238E27FC236}">
                <a16:creationId xmlns:a16="http://schemas.microsoft.com/office/drawing/2014/main" id="{520A479F-95FF-4D39-7D24-BAD260B6C3D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97444" y="2095500"/>
            <a:ext cx="4762499" cy="266700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391601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1288F51-667B-E0F9-8D6A-A9728971B4EE}"/>
              </a:ext>
            </a:extLst>
          </p:cNvPr>
          <p:cNvSpPr>
            <a:spLocks noGrp="1"/>
          </p:cNvSpPr>
          <p:nvPr>
            <p:ph sz="quarter" idx="18"/>
          </p:nvPr>
        </p:nvSpPr>
        <p:spPr>
          <a:xfrm>
            <a:off x="5637006" y="1600200"/>
            <a:ext cx="6173993" cy="4538663"/>
          </a:xfrm>
        </p:spPr>
        <p:txBody>
          <a:bodyPr/>
          <a:lstStyle/>
          <a:p>
            <a:pPr>
              <a:lnSpc>
                <a:spcPct val="100000"/>
              </a:lnSpc>
              <a:spcBef>
                <a:spcPts val="300"/>
              </a:spcBef>
            </a:pPr>
            <a:r>
              <a:rPr lang="en-US" dirty="0"/>
              <a:t>National Public Data (NPD) reported in August 2024 that </a:t>
            </a:r>
            <a:r>
              <a:rPr lang="en-US" dirty="0">
                <a:solidFill>
                  <a:schemeClr val="accent1"/>
                </a:solidFill>
              </a:rPr>
              <a:t>a threat actor compromised its network in December 2023 and leaked certain data </a:t>
            </a:r>
            <a:r>
              <a:rPr lang="en-US" dirty="0"/>
              <a:t>beginning in April 2024. </a:t>
            </a:r>
          </a:p>
          <a:p>
            <a:pPr>
              <a:lnSpc>
                <a:spcPct val="100000"/>
              </a:lnSpc>
              <a:spcBef>
                <a:spcPts val="300"/>
              </a:spcBef>
            </a:pPr>
            <a:r>
              <a:rPr lang="en-US" dirty="0"/>
              <a:t>NPD provides background checks which includes information from legitimate sources and data scraped from websites. </a:t>
            </a:r>
          </a:p>
          <a:p>
            <a:pPr>
              <a:lnSpc>
                <a:spcPct val="100000"/>
              </a:lnSpc>
              <a:spcBef>
                <a:spcPts val="300"/>
              </a:spcBef>
            </a:pPr>
            <a:r>
              <a:rPr lang="en-US" dirty="0"/>
              <a:t>NPD’s official </a:t>
            </a:r>
            <a:r>
              <a:rPr lang="en-US" dirty="0">
                <a:solidFill>
                  <a:schemeClr val="accent1"/>
                </a:solidFill>
              </a:rPr>
              <a:t>notice filed with the Maine Attorney General stated that 1.3 million records </a:t>
            </a:r>
            <a:r>
              <a:rPr lang="en-US" dirty="0"/>
              <a:t>may have been compromised.  </a:t>
            </a:r>
          </a:p>
          <a:p>
            <a:pPr>
              <a:lnSpc>
                <a:spcPct val="100000"/>
              </a:lnSpc>
              <a:spcBef>
                <a:spcPts val="300"/>
              </a:spcBef>
            </a:pPr>
            <a:r>
              <a:rPr lang="en-US" dirty="0"/>
              <a:t>However, a </a:t>
            </a:r>
            <a:r>
              <a:rPr lang="en-US" dirty="0">
                <a:solidFill>
                  <a:schemeClr val="accent1"/>
                </a:solidFill>
              </a:rPr>
              <a:t>class action lawsuit alleges that more than 2.9 billion personal records </a:t>
            </a:r>
            <a:r>
              <a:rPr lang="en-US" dirty="0"/>
              <a:t>may have been exposed. </a:t>
            </a:r>
          </a:p>
        </p:txBody>
      </p:sp>
      <p:sp>
        <p:nvSpPr>
          <p:cNvPr id="3" name="Text Placeholder 2">
            <a:extLst>
              <a:ext uri="{FF2B5EF4-FFF2-40B4-BE49-F238E27FC236}">
                <a16:creationId xmlns:a16="http://schemas.microsoft.com/office/drawing/2014/main" id="{DA61570E-0760-E205-ABE4-F7766EA11E83}"/>
              </a:ext>
            </a:extLst>
          </p:cNvPr>
          <p:cNvSpPr>
            <a:spLocks noGrp="1"/>
          </p:cNvSpPr>
          <p:nvPr>
            <p:ph type="body" sz="quarter" idx="15"/>
          </p:nvPr>
        </p:nvSpPr>
        <p:spPr/>
        <p:txBody>
          <a:bodyPr/>
          <a:lstStyle/>
          <a:p>
            <a:r>
              <a:rPr lang="en-US" b="1" dirty="0"/>
              <a:t>NATIONAL PUBLIC DATA</a:t>
            </a:r>
          </a:p>
        </p:txBody>
      </p:sp>
      <p:sp>
        <p:nvSpPr>
          <p:cNvPr id="4" name="Text Placeholder 3">
            <a:extLst>
              <a:ext uri="{FF2B5EF4-FFF2-40B4-BE49-F238E27FC236}">
                <a16:creationId xmlns:a16="http://schemas.microsoft.com/office/drawing/2014/main" id="{25E26AF1-ED14-186C-6110-6186015F8B81}"/>
              </a:ext>
            </a:extLst>
          </p:cNvPr>
          <p:cNvSpPr>
            <a:spLocks noGrp="1"/>
          </p:cNvSpPr>
          <p:nvPr>
            <p:ph type="body" sz="quarter" idx="16"/>
          </p:nvPr>
        </p:nvSpPr>
        <p:spPr/>
        <p:txBody>
          <a:bodyPr/>
          <a:lstStyle/>
          <a:p>
            <a:endParaRPr lang="en-US"/>
          </a:p>
        </p:txBody>
      </p:sp>
      <p:pic>
        <p:nvPicPr>
          <p:cNvPr id="5" name="Picture 4">
            <a:extLst>
              <a:ext uri="{FF2B5EF4-FFF2-40B4-BE49-F238E27FC236}">
                <a16:creationId xmlns:a16="http://schemas.microsoft.com/office/drawing/2014/main" id="{BD8A0CC2-39F0-FE70-2AD7-9F52FFF68128}"/>
              </a:ext>
            </a:extLst>
          </p:cNvPr>
          <p:cNvPicPr>
            <a:picLocks noChangeAspect="1"/>
          </p:cNvPicPr>
          <p:nvPr/>
        </p:nvPicPr>
        <p:blipFill>
          <a:blip r:embed="rId2"/>
          <a:srcRect/>
          <a:stretch/>
        </p:blipFill>
        <p:spPr>
          <a:xfrm>
            <a:off x="390331" y="2755286"/>
            <a:ext cx="5015137" cy="1347428"/>
          </a:xfrm>
          <a:prstGeom prst="rect">
            <a:avLst/>
          </a:prstGeom>
          <a:ln>
            <a:solidFill>
              <a:schemeClr val="tx1"/>
            </a:solidFill>
          </a:ln>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9189124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6F422CB-DD7E-EEBA-70D5-4F12DD743CC5}"/>
              </a:ext>
            </a:extLst>
          </p:cNvPr>
          <p:cNvSpPr>
            <a:spLocks noGrp="1"/>
          </p:cNvSpPr>
          <p:nvPr>
            <p:ph type="body" sz="quarter" idx="18"/>
          </p:nvPr>
        </p:nvSpPr>
        <p:spPr/>
        <p:txBody>
          <a:bodyPr/>
          <a:lstStyle/>
          <a:p>
            <a:pPr>
              <a:buClr>
                <a:srgbClr val="214B66"/>
              </a:buClr>
            </a:pPr>
            <a:r>
              <a:rPr lang="en-US" dirty="0">
                <a:solidFill>
                  <a:srgbClr val="002060"/>
                </a:solidFill>
              </a:rPr>
              <a:t>Pharmaceutical giant reported in May 2024 that it experienced a cyberattack resulting in </a:t>
            </a:r>
            <a:r>
              <a:rPr lang="en-US" dirty="0">
                <a:solidFill>
                  <a:srgbClr val="FF0000"/>
                </a:solidFill>
              </a:rPr>
              <a:t>“personal and highly sensitive information” being stolen</a:t>
            </a:r>
            <a:r>
              <a:rPr lang="en-US" dirty="0">
                <a:solidFill>
                  <a:srgbClr val="002060"/>
                </a:solidFill>
              </a:rPr>
              <a:t>.  </a:t>
            </a:r>
          </a:p>
          <a:p>
            <a:pPr>
              <a:buClr>
                <a:srgbClr val="214B66"/>
              </a:buClr>
            </a:pPr>
            <a:r>
              <a:rPr lang="en-US" dirty="0">
                <a:solidFill>
                  <a:srgbClr val="002060"/>
                </a:solidFill>
              </a:rPr>
              <a:t>Organization has provided few details about the incident which resulted in </a:t>
            </a:r>
            <a:r>
              <a:rPr lang="en-US" dirty="0">
                <a:solidFill>
                  <a:srgbClr val="FF0000"/>
                </a:solidFill>
              </a:rPr>
              <a:t>over 1.4 million individuals being notified</a:t>
            </a:r>
            <a:r>
              <a:rPr lang="en-US" dirty="0">
                <a:solidFill>
                  <a:srgbClr val="002060"/>
                </a:solidFill>
              </a:rPr>
              <a:t>.  </a:t>
            </a:r>
          </a:p>
          <a:p>
            <a:pPr>
              <a:buClr>
                <a:srgbClr val="214B66"/>
              </a:buClr>
            </a:pPr>
            <a:r>
              <a:rPr lang="en-US" dirty="0">
                <a:solidFill>
                  <a:srgbClr val="002060"/>
                </a:solidFill>
              </a:rPr>
              <a:t>Reported that initial ransom demand was $150 million. </a:t>
            </a:r>
          </a:p>
          <a:p>
            <a:pPr>
              <a:buClr>
                <a:srgbClr val="214B66"/>
              </a:buClr>
            </a:pPr>
            <a:r>
              <a:rPr lang="en-US" dirty="0" err="1">
                <a:solidFill>
                  <a:srgbClr val="002060"/>
                </a:solidFill>
              </a:rPr>
              <a:t>Cencora</a:t>
            </a:r>
            <a:r>
              <a:rPr lang="en-US" dirty="0">
                <a:solidFill>
                  <a:srgbClr val="002060"/>
                </a:solidFill>
              </a:rPr>
              <a:t> </a:t>
            </a:r>
            <a:r>
              <a:rPr lang="en-US" dirty="0">
                <a:solidFill>
                  <a:srgbClr val="FF0000"/>
                </a:solidFill>
              </a:rPr>
              <a:t>reportedly paid a $75 million ransom </a:t>
            </a:r>
            <a:r>
              <a:rPr lang="en-US" dirty="0">
                <a:solidFill>
                  <a:srgbClr val="002060"/>
                </a:solidFill>
              </a:rPr>
              <a:t>in three Bitcoin installments.  </a:t>
            </a:r>
          </a:p>
          <a:p>
            <a:pPr>
              <a:buClr>
                <a:srgbClr val="214B66"/>
              </a:buClr>
            </a:pPr>
            <a:r>
              <a:rPr lang="en-US" dirty="0">
                <a:solidFill>
                  <a:srgbClr val="002060"/>
                </a:solidFill>
              </a:rPr>
              <a:t>Amount is known to be the </a:t>
            </a:r>
            <a:r>
              <a:rPr lang="en-US" dirty="0">
                <a:solidFill>
                  <a:srgbClr val="FF0000"/>
                </a:solidFill>
              </a:rPr>
              <a:t>largest ransom ever paid</a:t>
            </a:r>
            <a:r>
              <a:rPr lang="en-US" dirty="0">
                <a:solidFill>
                  <a:srgbClr val="002060"/>
                </a:solidFill>
              </a:rPr>
              <a:t>. </a:t>
            </a:r>
          </a:p>
          <a:p>
            <a:endParaRPr lang="en-US" dirty="0">
              <a:solidFill>
                <a:srgbClr val="002060"/>
              </a:solidFill>
            </a:endParaRPr>
          </a:p>
        </p:txBody>
      </p:sp>
      <p:sp>
        <p:nvSpPr>
          <p:cNvPr id="4" name="Text Placeholder 3">
            <a:extLst>
              <a:ext uri="{FF2B5EF4-FFF2-40B4-BE49-F238E27FC236}">
                <a16:creationId xmlns:a16="http://schemas.microsoft.com/office/drawing/2014/main" id="{A4377528-2AD5-D926-E8E0-214B4AD1514F}"/>
              </a:ext>
            </a:extLst>
          </p:cNvPr>
          <p:cNvSpPr>
            <a:spLocks noGrp="1"/>
          </p:cNvSpPr>
          <p:nvPr>
            <p:ph type="body" sz="quarter" idx="15"/>
          </p:nvPr>
        </p:nvSpPr>
        <p:spPr/>
        <p:txBody>
          <a:bodyPr/>
          <a:lstStyle/>
          <a:p>
            <a:r>
              <a:rPr lang="en-US" b="1" dirty="0" err="1">
                <a:solidFill>
                  <a:srgbClr val="002060"/>
                </a:solidFill>
              </a:rPr>
              <a:t>CENCORA</a:t>
            </a:r>
            <a:r>
              <a:rPr lang="en-US" b="1" dirty="0">
                <a:solidFill>
                  <a:srgbClr val="002060"/>
                </a:solidFill>
              </a:rPr>
              <a:t> (f/k/a AmerisourceBergen)</a:t>
            </a:r>
          </a:p>
        </p:txBody>
      </p:sp>
      <p:pic>
        <p:nvPicPr>
          <p:cNvPr id="2" name="Picture 1">
            <a:extLst>
              <a:ext uri="{FF2B5EF4-FFF2-40B4-BE49-F238E27FC236}">
                <a16:creationId xmlns:a16="http://schemas.microsoft.com/office/drawing/2014/main" id="{520A479F-95FF-4D39-7D24-BAD260B6C3D2}"/>
              </a:ext>
            </a:extLst>
          </p:cNvPr>
          <p:cNvPicPr>
            <a:picLocks noChangeAspect="1"/>
          </p:cNvPicPr>
          <p:nvPr/>
        </p:nvPicPr>
        <p:blipFill>
          <a:blip r:embed="rId2"/>
          <a:srcRect/>
          <a:stretch/>
        </p:blipFill>
        <p:spPr>
          <a:xfrm>
            <a:off x="916492" y="2309326"/>
            <a:ext cx="4184463" cy="2239347"/>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1019454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0EEF82B-0BD4-4DA7-D3E1-E378AF3732CC}"/>
              </a:ext>
            </a:extLst>
          </p:cNvPr>
          <p:cNvSpPr>
            <a:spLocks noGrp="1"/>
          </p:cNvSpPr>
          <p:nvPr>
            <p:ph sz="quarter" idx="18"/>
          </p:nvPr>
        </p:nvSpPr>
        <p:spPr>
          <a:xfrm>
            <a:off x="5561704" y="1600200"/>
            <a:ext cx="6249296" cy="4538663"/>
          </a:xfrm>
        </p:spPr>
        <p:txBody>
          <a:bodyPr/>
          <a:lstStyle/>
          <a:p>
            <a:pPr>
              <a:lnSpc>
                <a:spcPct val="100000"/>
              </a:lnSpc>
              <a:spcBef>
                <a:spcPts val="300"/>
              </a:spcBef>
            </a:pPr>
            <a:r>
              <a:rPr lang="en-US" dirty="0"/>
              <a:t>Multinational company’s Hong Kong office recently fell victim to a deepfake scam which </a:t>
            </a:r>
            <a:r>
              <a:rPr lang="en-US" b="1" dirty="0">
                <a:solidFill>
                  <a:schemeClr val="accent1"/>
                </a:solidFill>
              </a:rPr>
              <a:t>resulted in a $25 million loss</a:t>
            </a:r>
            <a:r>
              <a:rPr lang="en-US" dirty="0"/>
              <a:t>.</a:t>
            </a:r>
          </a:p>
          <a:p>
            <a:pPr>
              <a:lnSpc>
                <a:spcPct val="100000"/>
              </a:lnSpc>
              <a:spcBef>
                <a:spcPts val="300"/>
              </a:spcBef>
            </a:pPr>
            <a:r>
              <a:rPr lang="en-US" dirty="0"/>
              <a:t>Scam </a:t>
            </a:r>
            <a:r>
              <a:rPr lang="en-US" b="1" dirty="0">
                <a:solidFill>
                  <a:schemeClr val="accent1"/>
                </a:solidFill>
              </a:rPr>
              <a:t>recreated company’s CFO and other employees in a video conference call </a:t>
            </a:r>
            <a:r>
              <a:rPr lang="en-US" dirty="0"/>
              <a:t>and instructed an employee to transfer funds.</a:t>
            </a:r>
          </a:p>
          <a:p>
            <a:pPr>
              <a:lnSpc>
                <a:spcPct val="100000"/>
              </a:lnSpc>
              <a:spcBef>
                <a:spcPts val="300"/>
              </a:spcBef>
            </a:pPr>
            <a:r>
              <a:rPr lang="en-US" dirty="0"/>
              <a:t>All participants on the call were</a:t>
            </a:r>
            <a:r>
              <a:rPr lang="en-US" b="1" dirty="0">
                <a:solidFill>
                  <a:schemeClr val="accent1"/>
                </a:solidFill>
              </a:rPr>
              <a:t> fabricated individuals</a:t>
            </a:r>
            <a:r>
              <a:rPr lang="en-US" dirty="0"/>
              <a:t> – except the victim that transferred the funds.  </a:t>
            </a:r>
          </a:p>
          <a:p>
            <a:pPr>
              <a:lnSpc>
                <a:spcPct val="100000"/>
              </a:lnSpc>
              <a:spcBef>
                <a:spcPts val="300"/>
              </a:spcBef>
            </a:pPr>
            <a:r>
              <a:rPr lang="en-US" dirty="0"/>
              <a:t>The fraud was initially uncovered following a phishing attempt where </a:t>
            </a:r>
            <a:r>
              <a:rPr lang="en-US" b="1" dirty="0">
                <a:solidFill>
                  <a:schemeClr val="accent1"/>
                </a:solidFill>
              </a:rPr>
              <a:t>employee in finance department received an email from the CFO instructing</a:t>
            </a:r>
            <a:r>
              <a:rPr lang="en-US" dirty="0"/>
              <a:t> a secret transaction.  </a:t>
            </a:r>
          </a:p>
          <a:p>
            <a:pPr>
              <a:lnSpc>
                <a:spcPct val="100000"/>
              </a:lnSpc>
              <a:spcBef>
                <a:spcPts val="300"/>
              </a:spcBef>
            </a:pPr>
            <a:r>
              <a:rPr lang="en-US" dirty="0"/>
              <a:t>Employee then completed </a:t>
            </a:r>
            <a:r>
              <a:rPr lang="en-US" b="1" dirty="0">
                <a:solidFill>
                  <a:schemeClr val="accent1"/>
                </a:solidFill>
              </a:rPr>
              <a:t>15 transfers </a:t>
            </a:r>
            <a:r>
              <a:rPr lang="en-US" dirty="0"/>
              <a:t>to 5 different bank accounts. </a:t>
            </a:r>
          </a:p>
        </p:txBody>
      </p:sp>
      <p:sp>
        <p:nvSpPr>
          <p:cNvPr id="3" name="Text Placeholder 2">
            <a:extLst>
              <a:ext uri="{FF2B5EF4-FFF2-40B4-BE49-F238E27FC236}">
                <a16:creationId xmlns:a16="http://schemas.microsoft.com/office/drawing/2014/main" id="{717EC3C0-0C2F-9308-3AFB-A50215AB08BD}"/>
              </a:ext>
            </a:extLst>
          </p:cNvPr>
          <p:cNvSpPr>
            <a:spLocks noGrp="1"/>
          </p:cNvSpPr>
          <p:nvPr>
            <p:ph type="body" sz="quarter" idx="15"/>
          </p:nvPr>
        </p:nvSpPr>
        <p:spPr/>
        <p:txBody>
          <a:bodyPr/>
          <a:lstStyle/>
          <a:p>
            <a:r>
              <a:rPr lang="en-US" b="1" dirty="0"/>
              <a:t>$25 MILLION DEEPFAKE SCAM</a:t>
            </a:r>
          </a:p>
        </p:txBody>
      </p:sp>
      <p:sp>
        <p:nvSpPr>
          <p:cNvPr id="4" name="Text Placeholder 3">
            <a:extLst>
              <a:ext uri="{FF2B5EF4-FFF2-40B4-BE49-F238E27FC236}">
                <a16:creationId xmlns:a16="http://schemas.microsoft.com/office/drawing/2014/main" id="{0842B581-E0ED-5FEC-EC76-AA78E01B1D3F}"/>
              </a:ext>
            </a:extLst>
          </p:cNvPr>
          <p:cNvSpPr>
            <a:spLocks noGrp="1"/>
          </p:cNvSpPr>
          <p:nvPr>
            <p:ph type="body" sz="quarter" idx="16"/>
          </p:nvPr>
        </p:nvSpPr>
        <p:spPr/>
        <p:txBody>
          <a:bodyPr/>
          <a:lstStyle/>
          <a:p>
            <a:endParaRPr lang="en-US"/>
          </a:p>
        </p:txBody>
      </p:sp>
      <p:pic>
        <p:nvPicPr>
          <p:cNvPr id="5" name="Picture 4">
            <a:extLst>
              <a:ext uri="{FF2B5EF4-FFF2-40B4-BE49-F238E27FC236}">
                <a16:creationId xmlns:a16="http://schemas.microsoft.com/office/drawing/2014/main" id="{BA5DA5A3-8FC8-F73A-7C71-154CA462F60C}"/>
              </a:ext>
            </a:extLst>
          </p:cNvPr>
          <p:cNvPicPr>
            <a:picLocks noChangeAspect="1"/>
          </p:cNvPicPr>
          <p:nvPr/>
        </p:nvPicPr>
        <p:blipFill>
          <a:blip r:embed="rId2"/>
          <a:stretch>
            <a:fillRect/>
          </a:stretch>
        </p:blipFill>
        <p:spPr>
          <a:xfrm>
            <a:off x="390331" y="2597003"/>
            <a:ext cx="4845540" cy="21577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7123749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B607FA7-B5D4-0F22-CC3E-148C238449D7}"/>
              </a:ext>
            </a:extLst>
          </p:cNvPr>
          <p:cNvSpPr>
            <a:spLocks noGrp="1"/>
          </p:cNvSpPr>
          <p:nvPr>
            <p:ph type="body" sz="quarter" idx="12"/>
          </p:nvPr>
        </p:nvSpPr>
        <p:spPr>
          <a:xfrm>
            <a:off x="276354" y="1519238"/>
            <a:ext cx="11430000" cy="1828800"/>
          </a:xfrm>
        </p:spPr>
        <p:txBody>
          <a:bodyPr/>
          <a:lstStyle/>
          <a:p>
            <a:r>
              <a:rPr lang="en-US" dirty="0"/>
              <a:t>REGULATORY UPDATES</a:t>
            </a:r>
          </a:p>
        </p:txBody>
      </p:sp>
      <p:sp>
        <p:nvSpPr>
          <p:cNvPr id="5" name="Text Placeholder 4">
            <a:extLst>
              <a:ext uri="{FF2B5EF4-FFF2-40B4-BE49-F238E27FC236}">
                <a16:creationId xmlns:a16="http://schemas.microsoft.com/office/drawing/2014/main" id="{43AC9E9C-F133-E4ED-F635-C13A1E6D65C5}"/>
              </a:ext>
            </a:extLst>
          </p:cNvPr>
          <p:cNvSpPr>
            <a:spLocks noGrp="1"/>
          </p:cNvSpPr>
          <p:nvPr>
            <p:ph type="body" sz="quarter" idx="13"/>
          </p:nvPr>
        </p:nvSpPr>
        <p:spPr/>
        <p:txBody>
          <a:bodyPr/>
          <a:lstStyle/>
          <a:p>
            <a:r>
              <a:rPr lang="en-US" dirty="0"/>
              <a:t>OVERVIEW OF NEW REGULATIONS IN 2025</a:t>
            </a:r>
          </a:p>
        </p:txBody>
      </p:sp>
    </p:spTree>
    <p:extLst>
      <p:ext uri="{BB962C8B-B14F-4D97-AF65-F5344CB8AC3E}">
        <p14:creationId xmlns:p14="http://schemas.microsoft.com/office/powerpoint/2010/main" val="18918583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Freeform 26">
            <a:extLst>
              <a:ext uri="{FF2B5EF4-FFF2-40B4-BE49-F238E27FC236}">
                <a16:creationId xmlns:a16="http://schemas.microsoft.com/office/drawing/2014/main" id="{9646B213-2FBC-7D48-B0CB-11EF1C1CA107}"/>
              </a:ext>
            </a:extLst>
          </p:cNvPr>
          <p:cNvSpPr>
            <a:spLocks noChangeArrowheads="1"/>
          </p:cNvSpPr>
          <p:nvPr/>
        </p:nvSpPr>
        <p:spPr bwMode="auto">
          <a:xfrm>
            <a:off x="1265340" y="2254094"/>
            <a:ext cx="32328" cy="677833"/>
          </a:xfrm>
          <a:custGeom>
            <a:avLst/>
            <a:gdLst>
              <a:gd name="connsiteX0" fmla="*/ 31694 w 64655"/>
              <a:gd name="connsiteY0" fmla="*/ 1214095 h 1355665"/>
              <a:gd name="connsiteX1" fmla="*/ 64655 w 64655"/>
              <a:gd name="connsiteY1" fmla="*/ 1245696 h 1355665"/>
              <a:gd name="connsiteX2" fmla="*/ 64655 w 64655"/>
              <a:gd name="connsiteY2" fmla="*/ 1322801 h 1355665"/>
              <a:gd name="connsiteX3" fmla="*/ 31694 w 64655"/>
              <a:gd name="connsiteY3" fmla="*/ 1355665 h 1355665"/>
              <a:gd name="connsiteX4" fmla="*/ 0 w 64655"/>
              <a:gd name="connsiteY4" fmla="*/ 1322801 h 1355665"/>
              <a:gd name="connsiteX5" fmla="*/ 0 w 64655"/>
              <a:gd name="connsiteY5" fmla="*/ 1245696 h 1355665"/>
              <a:gd name="connsiteX6" fmla="*/ 31694 w 64655"/>
              <a:gd name="connsiteY6" fmla="*/ 1214095 h 1355665"/>
              <a:gd name="connsiteX7" fmla="*/ 31694 w 64655"/>
              <a:gd name="connsiteY7" fmla="*/ 888615 h 1355665"/>
              <a:gd name="connsiteX8" fmla="*/ 64655 w 64655"/>
              <a:gd name="connsiteY8" fmla="*/ 919740 h 1355665"/>
              <a:gd name="connsiteX9" fmla="*/ 64655 w 64655"/>
              <a:gd name="connsiteY9" fmla="*/ 1081592 h 1355665"/>
              <a:gd name="connsiteX10" fmla="*/ 31694 w 64655"/>
              <a:gd name="connsiteY10" fmla="*/ 1113962 h 1355665"/>
              <a:gd name="connsiteX11" fmla="*/ 0 w 64655"/>
              <a:gd name="connsiteY11" fmla="*/ 1081592 h 1355665"/>
              <a:gd name="connsiteX12" fmla="*/ 0 w 64655"/>
              <a:gd name="connsiteY12" fmla="*/ 919740 h 1355665"/>
              <a:gd name="connsiteX13" fmla="*/ 31694 w 64655"/>
              <a:gd name="connsiteY13" fmla="*/ 888615 h 1355665"/>
              <a:gd name="connsiteX14" fmla="*/ 31694 w 64655"/>
              <a:gd name="connsiteY14" fmla="*/ 561177 h 1355665"/>
              <a:gd name="connsiteX15" fmla="*/ 64655 w 64655"/>
              <a:gd name="connsiteY15" fmla="*/ 593547 h 1355665"/>
              <a:gd name="connsiteX16" fmla="*/ 64655 w 64655"/>
              <a:gd name="connsiteY16" fmla="*/ 756644 h 1355665"/>
              <a:gd name="connsiteX17" fmla="*/ 31694 w 64655"/>
              <a:gd name="connsiteY17" fmla="*/ 787769 h 1355665"/>
              <a:gd name="connsiteX18" fmla="*/ 0 w 64655"/>
              <a:gd name="connsiteY18" fmla="*/ 756644 h 1355665"/>
              <a:gd name="connsiteX19" fmla="*/ 0 w 64655"/>
              <a:gd name="connsiteY19" fmla="*/ 593547 h 1355665"/>
              <a:gd name="connsiteX20" fmla="*/ 31694 w 64655"/>
              <a:gd name="connsiteY20" fmla="*/ 561177 h 1355665"/>
              <a:gd name="connsiteX21" fmla="*/ 31694 w 64655"/>
              <a:gd name="connsiteY21" fmla="*/ 236228 h 1355665"/>
              <a:gd name="connsiteX22" fmla="*/ 64655 w 64655"/>
              <a:gd name="connsiteY22" fmla="*/ 267354 h 1355665"/>
              <a:gd name="connsiteX23" fmla="*/ 64655 w 64655"/>
              <a:gd name="connsiteY23" fmla="*/ 430450 h 1355665"/>
              <a:gd name="connsiteX24" fmla="*/ 31694 w 64655"/>
              <a:gd name="connsiteY24" fmla="*/ 462821 h 1355665"/>
              <a:gd name="connsiteX25" fmla="*/ 0 w 64655"/>
              <a:gd name="connsiteY25" fmla="*/ 430450 h 1355665"/>
              <a:gd name="connsiteX26" fmla="*/ 0 w 64655"/>
              <a:gd name="connsiteY26" fmla="*/ 267354 h 1355665"/>
              <a:gd name="connsiteX27" fmla="*/ 31694 w 64655"/>
              <a:gd name="connsiteY27" fmla="*/ 236228 h 1355665"/>
              <a:gd name="connsiteX28" fmla="*/ 31694 w 64655"/>
              <a:gd name="connsiteY28" fmla="*/ 0 h 1355665"/>
              <a:gd name="connsiteX29" fmla="*/ 64655 w 64655"/>
              <a:gd name="connsiteY29" fmla="*/ 30657 h 1355665"/>
              <a:gd name="connsiteX30" fmla="*/ 64655 w 64655"/>
              <a:gd name="connsiteY30" fmla="*/ 105459 h 1355665"/>
              <a:gd name="connsiteX31" fmla="*/ 31694 w 64655"/>
              <a:gd name="connsiteY31" fmla="*/ 136116 h 1355665"/>
              <a:gd name="connsiteX32" fmla="*/ 0 w 64655"/>
              <a:gd name="connsiteY32" fmla="*/ 105459 h 1355665"/>
              <a:gd name="connsiteX33" fmla="*/ 0 w 64655"/>
              <a:gd name="connsiteY33" fmla="*/ 30657 h 1355665"/>
              <a:gd name="connsiteX34" fmla="*/ 31694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1694" y="1214095"/>
                </a:moveTo>
                <a:cubicBezTo>
                  <a:pt x="49442" y="1214095"/>
                  <a:pt x="64655" y="1227999"/>
                  <a:pt x="64655" y="1245696"/>
                </a:cubicBezTo>
                <a:lnTo>
                  <a:pt x="64655" y="1322801"/>
                </a:lnTo>
                <a:cubicBezTo>
                  <a:pt x="64655" y="1340497"/>
                  <a:pt x="49442" y="1355665"/>
                  <a:pt x="31694" y="1355665"/>
                </a:cubicBezTo>
                <a:cubicBezTo>
                  <a:pt x="13945" y="1355665"/>
                  <a:pt x="0" y="1340497"/>
                  <a:pt x="0" y="1322801"/>
                </a:cubicBezTo>
                <a:lnTo>
                  <a:pt x="0" y="1245696"/>
                </a:lnTo>
                <a:cubicBezTo>
                  <a:pt x="0" y="1227999"/>
                  <a:pt x="13945" y="1214095"/>
                  <a:pt x="31694" y="1214095"/>
                </a:cubicBezTo>
                <a:close/>
                <a:moveTo>
                  <a:pt x="31694" y="888615"/>
                </a:moveTo>
                <a:cubicBezTo>
                  <a:pt x="49442" y="888615"/>
                  <a:pt x="64655" y="902310"/>
                  <a:pt x="64655" y="919740"/>
                </a:cubicBezTo>
                <a:lnTo>
                  <a:pt x="64655" y="1081592"/>
                </a:lnTo>
                <a:cubicBezTo>
                  <a:pt x="64655" y="1099022"/>
                  <a:pt x="49442" y="1113962"/>
                  <a:pt x="31694" y="1113962"/>
                </a:cubicBezTo>
                <a:cubicBezTo>
                  <a:pt x="13945" y="1113962"/>
                  <a:pt x="0" y="1099022"/>
                  <a:pt x="0" y="1081592"/>
                </a:cubicBezTo>
                <a:lnTo>
                  <a:pt x="0" y="919740"/>
                </a:lnTo>
                <a:cubicBezTo>
                  <a:pt x="0" y="902310"/>
                  <a:pt x="13945" y="888615"/>
                  <a:pt x="31694" y="888615"/>
                </a:cubicBezTo>
                <a:close/>
                <a:moveTo>
                  <a:pt x="31694" y="561177"/>
                </a:moveTo>
                <a:cubicBezTo>
                  <a:pt x="49442" y="561177"/>
                  <a:pt x="64655" y="576117"/>
                  <a:pt x="64655" y="593547"/>
                </a:cubicBezTo>
                <a:lnTo>
                  <a:pt x="64655" y="756644"/>
                </a:lnTo>
                <a:cubicBezTo>
                  <a:pt x="64655" y="774074"/>
                  <a:pt x="49442" y="787769"/>
                  <a:pt x="31694" y="787769"/>
                </a:cubicBezTo>
                <a:cubicBezTo>
                  <a:pt x="13945" y="787769"/>
                  <a:pt x="0" y="774074"/>
                  <a:pt x="0" y="756644"/>
                </a:cubicBezTo>
                <a:lnTo>
                  <a:pt x="0" y="593547"/>
                </a:lnTo>
                <a:cubicBezTo>
                  <a:pt x="0" y="576117"/>
                  <a:pt x="13945" y="561177"/>
                  <a:pt x="31694" y="561177"/>
                </a:cubicBezTo>
                <a:close/>
                <a:moveTo>
                  <a:pt x="31694" y="236228"/>
                </a:moveTo>
                <a:cubicBezTo>
                  <a:pt x="49442" y="236228"/>
                  <a:pt x="64655" y="249923"/>
                  <a:pt x="64655" y="267354"/>
                </a:cubicBezTo>
                <a:lnTo>
                  <a:pt x="64655" y="430450"/>
                </a:lnTo>
                <a:cubicBezTo>
                  <a:pt x="64655" y="447880"/>
                  <a:pt x="49442" y="462821"/>
                  <a:pt x="31694" y="462821"/>
                </a:cubicBezTo>
                <a:cubicBezTo>
                  <a:pt x="13945" y="462821"/>
                  <a:pt x="0" y="447880"/>
                  <a:pt x="0" y="430450"/>
                </a:cubicBezTo>
                <a:lnTo>
                  <a:pt x="0" y="267354"/>
                </a:lnTo>
                <a:cubicBezTo>
                  <a:pt x="0" y="249923"/>
                  <a:pt x="13945" y="236228"/>
                  <a:pt x="31694" y="236228"/>
                </a:cubicBezTo>
                <a:close/>
                <a:moveTo>
                  <a:pt x="31694" y="0"/>
                </a:moveTo>
                <a:cubicBezTo>
                  <a:pt x="49442" y="0"/>
                  <a:pt x="64655" y="13489"/>
                  <a:pt x="64655" y="30657"/>
                </a:cubicBezTo>
                <a:lnTo>
                  <a:pt x="64655" y="105459"/>
                </a:lnTo>
                <a:cubicBezTo>
                  <a:pt x="64655" y="122627"/>
                  <a:pt x="49442" y="136116"/>
                  <a:pt x="31694" y="136116"/>
                </a:cubicBezTo>
                <a:cubicBezTo>
                  <a:pt x="13945" y="136116"/>
                  <a:pt x="0" y="122627"/>
                  <a:pt x="0" y="105459"/>
                </a:cubicBezTo>
                <a:lnTo>
                  <a:pt x="0" y="30657"/>
                </a:lnTo>
                <a:cubicBezTo>
                  <a:pt x="0" y="13489"/>
                  <a:pt x="13945" y="0"/>
                  <a:pt x="31694" y="0"/>
                </a:cubicBezTo>
                <a:close/>
              </a:path>
            </a:pathLst>
          </a:custGeom>
          <a:solidFill>
            <a:schemeClr val="accent1"/>
          </a:solidFill>
          <a:ln>
            <a:noFill/>
          </a:ln>
          <a:effectLst/>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8" name="Freeform 27">
            <a:extLst>
              <a:ext uri="{FF2B5EF4-FFF2-40B4-BE49-F238E27FC236}">
                <a16:creationId xmlns:a16="http://schemas.microsoft.com/office/drawing/2014/main" id="{861EED83-1FAE-644B-AEBE-6C08688E4388}"/>
              </a:ext>
            </a:extLst>
          </p:cNvPr>
          <p:cNvSpPr>
            <a:spLocks noChangeArrowheads="1"/>
          </p:cNvSpPr>
          <p:nvPr/>
        </p:nvSpPr>
        <p:spPr bwMode="auto">
          <a:xfrm>
            <a:off x="2852996" y="3762095"/>
            <a:ext cx="32328" cy="680582"/>
          </a:xfrm>
          <a:custGeom>
            <a:avLst/>
            <a:gdLst>
              <a:gd name="connsiteX0" fmla="*/ 32962 w 64655"/>
              <a:gd name="connsiteY0" fmla="*/ 1219583 h 1361164"/>
              <a:gd name="connsiteX1" fmla="*/ 64655 w 64655"/>
              <a:gd name="connsiteY1" fmla="*/ 1252159 h 1361164"/>
              <a:gd name="connsiteX2" fmla="*/ 64655 w 64655"/>
              <a:gd name="connsiteY2" fmla="*/ 1328588 h 1361164"/>
              <a:gd name="connsiteX3" fmla="*/ 32962 w 64655"/>
              <a:gd name="connsiteY3" fmla="*/ 1361164 h 1361164"/>
              <a:gd name="connsiteX4" fmla="*/ 0 w 64655"/>
              <a:gd name="connsiteY4" fmla="*/ 1328588 h 1361164"/>
              <a:gd name="connsiteX5" fmla="*/ 0 w 64655"/>
              <a:gd name="connsiteY5" fmla="*/ 1252159 h 1361164"/>
              <a:gd name="connsiteX6" fmla="*/ 32962 w 64655"/>
              <a:gd name="connsiteY6" fmla="*/ 1219583 h 1361164"/>
              <a:gd name="connsiteX7" fmla="*/ 32962 w 64655"/>
              <a:gd name="connsiteY7" fmla="*/ 894102 h 1361164"/>
              <a:gd name="connsiteX8" fmla="*/ 64655 w 64655"/>
              <a:gd name="connsiteY8" fmla="*/ 925227 h 1361164"/>
              <a:gd name="connsiteX9" fmla="*/ 64655 w 64655"/>
              <a:gd name="connsiteY9" fmla="*/ 1088324 h 1361164"/>
              <a:gd name="connsiteX10" fmla="*/ 32962 w 64655"/>
              <a:gd name="connsiteY10" fmla="*/ 1119449 h 1361164"/>
              <a:gd name="connsiteX11" fmla="*/ 0 w 64655"/>
              <a:gd name="connsiteY11" fmla="*/ 1088324 h 1361164"/>
              <a:gd name="connsiteX12" fmla="*/ 0 w 64655"/>
              <a:gd name="connsiteY12" fmla="*/ 925227 h 1361164"/>
              <a:gd name="connsiteX13" fmla="*/ 32962 w 64655"/>
              <a:gd name="connsiteY13" fmla="*/ 894102 h 1361164"/>
              <a:gd name="connsiteX14" fmla="*/ 32962 w 64655"/>
              <a:gd name="connsiteY14" fmla="*/ 566663 h 1361164"/>
              <a:gd name="connsiteX15" fmla="*/ 64655 w 64655"/>
              <a:gd name="connsiteY15" fmla="*/ 599034 h 1361164"/>
              <a:gd name="connsiteX16" fmla="*/ 64655 w 64655"/>
              <a:gd name="connsiteY16" fmla="*/ 762130 h 1361164"/>
              <a:gd name="connsiteX17" fmla="*/ 32962 w 64655"/>
              <a:gd name="connsiteY17" fmla="*/ 794501 h 1361164"/>
              <a:gd name="connsiteX18" fmla="*/ 0 w 64655"/>
              <a:gd name="connsiteY18" fmla="*/ 762130 h 1361164"/>
              <a:gd name="connsiteX19" fmla="*/ 0 w 64655"/>
              <a:gd name="connsiteY19" fmla="*/ 599034 h 1361164"/>
              <a:gd name="connsiteX20" fmla="*/ 32962 w 64655"/>
              <a:gd name="connsiteY20" fmla="*/ 566663 h 1361164"/>
              <a:gd name="connsiteX21" fmla="*/ 32962 w 64655"/>
              <a:gd name="connsiteY21" fmla="*/ 241715 h 1361164"/>
              <a:gd name="connsiteX22" fmla="*/ 64655 w 64655"/>
              <a:gd name="connsiteY22" fmla="*/ 272840 h 1361164"/>
              <a:gd name="connsiteX23" fmla="*/ 64655 w 64655"/>
              <a:gd name="connsiteY23" fmla="*/ 435937 h 1361164"/>
              <a:gd name="connsiteX24" fmla="*/ 32962 w 64655"/>
              <a:gd name="connsiteY24" fmla="*/ 467062 h 1361164"/>
              <a:gd name="connsiteX25" fmla="*/ 0 w 64655"/>
              <a:gd name="connsiteY25" fmla="*/ 435937 h 1361164"/>
              <a:gd name="connsiteX26" fmla="*/ 0 w 64655"/>
              <a:gd name="connsiteY26" fmla="*/ 272840 h 1361164"/>
              <a:gd name="connsiteX27" fmla="*/ 32962 w 64655"/>
              <a:gd name="connsiteY27" fmla="*/ 241715 h 1361164"/>
              <a:gd name="connsiteX28" fmla="*/ 32962 w 64655"/>
              <a:gd name="connsiteY28" fmla="*/ 0 h 1361164"/>
              <a:gd name="connsiteX29" fmla="*/ 64655 w 64655"/>
              <a:gd name="connsiteY29" fmla="*/ 32864 h 1361164"/>
              <a:gd name="connsiteX30" fmla="*/ 64655 w 64655"/>
              <a:gd name="connsiteY30" fmla="*/ 109970 h 1361164"/>
              <a:gd name="connsiteX31" fmla="*/ 32962 w 64655"/>
              <a:gd name="connsiteY31" fmla="*/ 141570 h 1361164"/>
              <a:gd name="connsiteX32" fmla="*/ 0 w 64655"/>
              <a:gd name="connsiteY32" fmla="*/ 109970 h 1361164"/>
              <a:gd name="connsiteX33" fmla="*/ 0 w 64655"/>
              <a:gd name="connsiteY33" fmla="*/ 32864 h 1361164"/>
              <a:gd name="connsiteX34" fmla="*/ 32962 w 64655"/>
              <a:gd name="connsiteY34" fmla="*/ 0 h 1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61164">
                <a:moveTo>
                  <a:pt x="32962" y="1219583"/>
                </a:moveTo>
                <a:cubicBezTo>
                  <a:pt x="50710" y="1219583"/>
                  <a:pt x="64655" y="1234618"/>
                  <a:pt x="64655" y="1252159"/>
                </a:cubicBezTo>
                <a:lnTo>
                  <a:pt x="64655" y="1328588"/>
                </a:lnTo>
                <a:cubicBezTo>
                  <a:pt x="64655" y="1347382"/>
                  <a:pt x="50710" y="1361164"/>
                  <a:pt x="32962" y="1361164"/>
                </a:cubicBezTo>
                <a:cubicBezTo>
                  <a:pt x="15213" y="1361164"/>
                  <a:pt x="0" y="1347382"/>
                  <a:pt x="0" y="1328588"/>
                </a:cubicBezTo>
                <a:lnTo>
                  <a:pt x="0" y="1252159"/>
                </a:lnTo>
                <a:cubicBezTo>
                  <a:pt x="0" y="1234618"/>
                  <a:pt x="15213" y="1219583"/>
                  <a:pt x="32962" y="1219583"/>
                </a:cubicBezTo>
                <a:close/>
                <a:moveTo>
                  <a:pt x="32962" y="894102"/>
                </a:moveTo>
                <a:cubicBezTo>
                  <a:pt x="50710" y="894102"/>
                  <a:pt x="64655" y="907797"/>
                  <a:pt x="64655" y="925227"/>
                </a:cubicBezTo>
                <a:lnTo>
                  <a:pt x="64655" y="1088324"/>
                </a:lnTo>
                <a:cubicBezTo>
                  <a:pt x="64655" y="1105754"/>
                  <a:pt x="50710" y="1119449"/>
                  <a:pt x="32962" y="1119449"/>
                </a:cubicBezTo>
                <a:cubicBezTo>
                  <a:pt x="15213" y="1119449"/>
                  <a:pt x="0" y="1105754"/>
                  <a:pt x="0" y="1088324"/>
                </a:cubicBezTo>
                <a:lnTo>
                  <a:pt x="0" y="925227"/>
                </a:lnTo>
                <a:cubicBezTo>
                  <a:pt x="0" y="907797"/>
                  <a:pt x="15213" y="894102"/>
                  <a:pt x="32962" y="894102"/>
                </a:cubicBezTo>
                <a:close/>
                <a:moveTo>
                  <a:pt x="32962" y="566663"/>
                </a:moveTo>
                <a:cubicBezTo>
                  <a:pt x="50710" y="566663"/>
                  <a:pt x="64655" y="581603"/>
                  <a:pt x="64655" y="599034"/>
                </a:cubicBezTo>
                <a:lnTo>
                  <a:pt x="64655" y="762130"/>
                </a:lnTo>
                <a:cubicBezTo>
                  <a:pt x="64655" y="779560"/>
                  <a:pt x="50710" y="794501"/>
                  <a:pt x="32962" y="794501"/>
                </a:cubicBezTo>
                <a:cubicBezTo>
                  <a:pt x="15213" y="794501"/>
                  <a:pt x="0" y="779560"/>
                  <a:pt x="0" y="762130"/>
                </a:cubicBezTo>
                <a:lnTo>
                  <a:pt x="0" y="599034"/>
                </a:lnTo>
                <a:cubicBezTo>
                  <a:pt x="0" y="581603"/>
                  <a:pt x="15213" y="566663"/>
                  <a:pt x="32962" y="566663"/>
                </a:cubicBezTo>
                <a:close/>
                <a:moveTo>
                  <a:pt x="32962" y="241715"/>
                </a:moveTo>
                <a:cubicBezTo>
                  <a:pt x="50710" y="241715"/>
                  <a:pt x="64655" y="255410"/>
                  <a:pt x="64655" y="272840"/>
                </a:cubicBezTo>
                <a:lnTo>
                  <a:pt x="64655" y="435937"/>
                </a:lnTo>
                <a:cubicBezTo>
                  <a:pt x="64655" y="453367"/>
                  <a:pt x="50710" y="467062"/>
                  <a:pt x="32962" y="467062"/>
                </a:cubicBezTo>
                <a:cubicBezTo>
                  <a:pt x="15213" y="467062"/>
                  <a:pt x="0" y="453367"/>
                  <a:pt x="0" y="435937"/>
                </a:cubicBezTo>
                <a:lnTo>
                  <a:pt x="0" y="272840"/>
                </a:lnTo>
                <a:cubicBezTo>
                  <a:pt x="0" y="255410"/>
                  <a:pt x="15213" y="241715"/>
                  <a:pt x="32962" y="241715"/>
                </a:cubicBezTo>
                <a:close/>
                <a:moveTo>
                  <a:pt x="32962" y="0"/>
                </a:moveTo>
                <a:cubicBezTo>
                  <a:pt x="50710" y="0"/>
                  <a:pt x="64655" y="15168"/>
                  <a:pt x="64655" y="32864"/>
                </a:cubicBezTo>
                <a:lnTo>
                  <a:pt x="64655" y="109970"/>
                </a:lnTo>
                <a:cubicBezTo>
                  <a:pt x="64655" y="127666"/>
                  <a:pt x="50710" y="141570"/>
                  <a:pt x="32962" y="141570"/>
                </a:cubicBezTo>
                <a:cubicBezTo>
                  <a:pt x="15213" y="141570"/>
                  <a:pt x="0" y="127666"/>
                  <a:pt x="0" y="109970"/>
                </a:cubicBezTo>
                <a:lnTo>
                  <a:pt x="0" y="32864"/>
                </a:lnTo>
                <a:cubicBezTo>
                  <a:pt x="0" y="15168"/>
                  <a:pt x="15213" y="0"/>
                  <a:pt x="32962" y="0"/>
                </a:cubicBezTo>
                <a:close/>
              </a:path>
            </a:pathLst>
          </a:custGeom>
          <a:solidFill>
            <a:schemeClr val="accent2"/>
          </a:solidFill>
          <a:ln>
            <a:noFill/>
          </a:ln>
          <a:effectLst/>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9" name="Freeform 28">
            <a:extLst>
              <a:ext uri="{FF2B5EF4-FFF2-40B4-BE49-F238E27FC236}">
                <a16:creationId xmlns:a16="http://schemas.microsoft.com/office/drawing/2014/main" id="{E3A3ABDA-2A48-5A40-8EE0-9C9F86CDF6DB}"/>
              </a:ext>
            </a:extLst>
          </p:cNvPr>
          <p:cNvSpPr>
            <a:spLocks noChangeArrowheads="1"/>
          </p:cNvSpPr>
          <p:nvPr/>
        </p:nvSpPr>
        <p:spPr bwMode="auto">
          <a:xfrm>
            <a:off x="4456513" y="2254094"/>
            <a:ext cx="32328" cy="677833"/>
          </a:xfrm>
          <a:custGeom>
            <a:avLst/>
            <a:gdLst>
              <a:gd name="connsiteX0" fmla="*/ 32962 w 64655"/>
              <a:gd name="connsiteY0" fmla="*/ 1214095 h 1355665"/>
              <a:gd name="connsiteX1" fmla="*/ 64655 w 64655"/>
              <a:gd name="connsiteY1" fmla="*/ 1245696 h 1355665"/>
              <a:gd name="connsiteX2" fmla="*/ 64655 w 64655"/>
              <a:gd name="connsiteY2" fmla="*/ 1322801 h 1355665"/>
              <a:gd name="connsiteX3" fmla="*/ 32962 w 64655"/>
              <a:gd name="connsiteY3" fmla="*/ 1355665 h 1355665"/>
              <a:gd name="connsiteX4" fmla="*/ 0 w 64655"/>
              <a:gd name="connsiteY4" fmla="*/ 1322801 h 1355665"/>
              <a:gd name="connsiteX5" fmla="*/ 0 w 64655"/>
              <a:gd name="connsiteY5" fmla="*/ 1245696 h 1355665"/>
              <a:gd name="connsiteX6" fmla="*/ 32962 w 64655"/>
              <a:gd name="connsiteY6" fmla="*/ 1214095 h 1355665"/>
              <a:gd name="connsiteX7" fmla="*/ 32962 w 64655"/>
              <a:gd name="connsiteY7" fmla="*/ 888615 h 1355665"/>
              <a:gd name="connsiteX8" fmla="*/ 64655 w 64655"/>
              <a:gd name="connsiteY8" fmla="*/ 919740 h 1355665"/>
              <a:gd name="connsiteX9" fmla="*/ 64655 w 64655"/>
              <a:gd name="connsiteY9" fmla="*/ 1081592 h 1355665"/>
              <a:gd name="connsiteX10" fmla="*/ 32962 w 64655"/>
              <a:gd name="connsiteY10" fmla="*/ 1113962 h 1355665"/>
              <a:gd name="connsiteX11" fmla="*/ 0 w 64655"/>
              <a:gd name="connsiteY11" fmla="*/ 1081592 h 1355665"/>
              <a:gd name="connsiteX12" fmla="*/ 0 w 64655"/>
              <a:gd name="connsiteY12" fmla="*/ 919740 h 1355665"/>
              <a:gd name="connsiteX13" fmla="*/ 32962 w 64655"/>
              <a:gd name="connsiteY13" fmla="*/ 888615 h 1355665"/>
              <a:gd name="connsiteX14" fmla="*/ 32962 w 64655"/>
              <a:gd name="connsiteY14" fmla="*/ 561177 h 1355665"/>
              <a:gd name="connsiteX15" fmla="*/ 64655 w 64655"/>
              <a:gd name="connsiteY15" fmla="*/ 593547 h 1355665"/>
              <a:gd name="connsiteX16" fmla="*/ 64655 w 64655"/>
              <a:gd name="connsiteY16" fmla="*/ 756644 h 1355665"/>
              <a:gd name="connsiteX17" fmla="*/ 32962 w 64655"/>
              <a:gd name="connsiteY17" fmla="*/ 787769 h 1355665"/>
              <a:gd name="connsiteX18" fmla="*/ 0 w 64655"/>
              <a:gd name="connsiteY18" fmla="*/ 756644 h 1355665"/>
              <a:gd name="connsiteX19" fmla="*/ 0 w 64655"/>
              <a:gd name="connsiteY19" fmla="*/ 593547 h 1355665"/>
              <a:gd name="connsiteX20" fmla="*/ 32962 w 64655"/>
              <a:gd name="connsiteY20" fmla="*/ 561177 h 1355665"/>
              <a:gd name="connsiteX21" fmla="*/ 32962 w 64655"/>
              <a:gd name="connsiteY21" fmla="*/ 236228 h 1355665"/>
              <a:gd name="connsiteX22" fmla="*/ 64655 w 64655"/>
              <a:gd name="connsiteY22" fmla="*/ 267354 h 1355665"/>
              <a:gd name="connsiteX23" fmla="*/ 64655 w 64655"/>
              <a:gd name="connsiteY23" fmla="*/ 430450 h 1355665"/>
              <a:gd name="connsiteX24" fmla="*/ 32962 w 64655"/>
              <a:gd name="connsiteY24" fmla="*/ 462821 h 1355665"/>
              <a:gd name="connsiteX25" fmla="*/ 0 w 64655"/>
              <a:gd name="connsiteY25" fmla="*/ 430450 h 1355665"/>
              <a:gd name="connsiteX26" fmla="*/ 0 w 64655"/>
              <a:gd name="connsiteY26" fmla="*/ 267354 h 1355665"/>
              <a:gd name="connsiteX27" fmla="*/ 32962 w 64655"/>
              <a:gd name="connsiteY27" fmla="*/ 236228 h 1355665"/>
              <a:gd name="connsiteX28" fmla="*/ 32962 w 64655"/>
              <a:gd name="connsiteY28" fmla="*/ 0 h 1355665"/>
              <a:gd name="connsiteX29" fmla="*/ 64655 w 64655"/>
              <a:gd name="connsiteY29" fmla="*/ 30657 h 1355665"/>
              <a:gd name="connsiteX30" fmla="*/ 64655 w 64655"/>
              <a:gd name="connsiteY30" fmla="*/ 105459 h 1355665"/>
              <a:gd name="connsiteX31" fmla="*/ 32962 w 64655"/>
              <a:gd name="connsiteY31" fmla="*/ 136116 h 1355665"/>
              <a:gd name="connsiteX32" fmla="*/ 0 w 64655"/>
              <a:gd name="connsiteY32" fmla="*/ 105459 h 1355665"/>
              <a:gd name="connsiteX33" fmla="*/ 0 w 64655"/>
              <a:gd name="connsiteY33" fmla="*/ 30657 h 1355665"/>
              <a:gd name="connsiteX34" fmla="*/ 32962 w 64655"/>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5" h="1355665">
                <a:moveTo>
                  <a:pt x="32962" y="1214095"/>
                </a:moveTo>
                <a:cubicBezTo>
                  <a:pt x="49442" y="1214095"/>
                  <a:pt x="64655" y="1227999"/>
                  <a:pt x="64655" y="1245696"/>
                </a:cubicBezTo>
                <a:lnTo>
                  <a:pt x="64655" y="1322801"/>
                </a:lnTo>
                <a:cubicBezTo>
                  <a:pt x="64655" y="1340497"/>
                  <a:pt x="49442" y="1355665"/>
                  <a:pt x="32962" y="1355665"/>
                </a:cubicBezTo>
                <a:cubicBezTo>
                  <a:pt x="15213" y="1355665"/>
                  <a:pt x="0" y="1340497"/>
                  <a:pt x="0" y="1322801"/>
                </a:cubicBezTo>
                <a:lnTo>
                  <a:pt x="0" y="1245696"/>
                </a:lnTo>
                <a:cubicBezTo>
                  <a:pt x="0" y="1227999"/>
                  <a:pt x="15213" y="1214095"/>
                  <a:pt x="32962" y="1214095"/>
                </a:cubicBezTo>
                <a:close/>
                <a:moveTo>
                  <a:pt x="32962" y="888615"/>
                </a:moveTo>
                <a:cubicBezTo>
                  <a:pt x="49442" y="888615"/>
                  <a:pt x="64655" y="902310"/>
                  <a:pt x="64655" y="919740"/>
                </a:cubicBezTo>
                <a:lnTo>
                  <a:pt x="64655" y="1081592"/>
                </a:lnTo>
                <a:cubicBezTo>
                  <a:pt x="64655" y="1099022"/>
                  <a:pt x="49442" y="1113962"/>
                  <a:pt x="32962" y="1113962"/>
                </a:cubicBezTo>
                <a:cubicBezTo>
                  <a:pt x="15213" y="1113962"/>
                  <a:pt x="0" y="1099022"/>
                  <a:pt x="0" y="1081592"/>
                </a:cubicBezTo>
                <a:lnTo>
                  <a:pt x="0" y="919740"/>
                </a:lnTo>
                <a:cubicBezTo>
                  <a:pt x="0" y="902310"/>
                  <a:pt x="15213" y="888615"/>
                  <a:pt x="32962" y="888615"/>
                </a:cubicBezTo>
                <a:close/>
                <a:moveTo>
                  <a:pt x="32962" y="561177"/>
                </a:moveTo>
                <a:cubicBezTo>
                  <a:pt x="49442" y="561177"/>
                  <a:pt x="64655" y="576117"/>
                  <a:pt x="64655" y="593547"/>
                </a:cubicBezTo>
                <a:lnTo>
                  <a:pt x="64655" y="756644"/>
                </a:lnTo>
                <a:cubicBezTo>
                  <a:pt x="64655" y="774074"/>
                  <a:pt x="49442" y="787769"/>
                  <a:pt x="32962" y="787769"/>
                </a:cubicBezTo>
                <a:cubicBezTo>
                  <a:pt x="15213" y="787769"/>
                  <a:pt x="0" y="774074"/>
                  <a:pt x="0" y="756644"/>
                </a:cubicBezTo>
                <a:lnTo>
                  <a:pt x="0" y="593547"/>
                </a:lnTo>
                <a:cubicBezTo>
                  <a:pt x="0" y="576117"/>
                  <a:pt x="15213" y="561177"/>
                  <a:pt x="32962" y="561177"/>
                </a:cubicBezTo>
                <a:close/>
                <a:moveTo>
                  <a:pt x="32962" y="236228"/>
                </a:moveTo>
                <a:cubicBezTo>
                  <a:pt x="49442" y="236228"/>
                  <a:pt x="64655" y="249923"/>
                  <a:pt x="64655" y="267354"/>
                </a:cubicBezTo>
                <a:lnTo>
                  <a:pt x="64655" y="430450"/>
                </a:lnTo>
                <a:cubicBezTo>
                  <a:pt x="64655" y="447880"/>
                  <a:pt x="49442" y="462821"/>
                  <a:pt x="32962" y="462821"/>
                </a:cubicBezTo>
                <a:cubicBezTo>
                  <a:pt x="15213" y="462821"/>
                  <a:pt x="0" y="447880"/>
                  <a:pt x="0" y="430450"/>
                </a:cubicBezTo>
                <a:lnTo>
                  <a:pt x="0" y="267354"/>
                </a:lnTo>
                <a:cubicBezTo>
                  <a:pt x="0" y="249923"/>
                  <a:pt x="15213" y="236228"/>
                  <a:pt x="32962" y="236228"/>
                </a:cubicBezTo>
                <a:close/>
                <a:moveTo>
                  <a:pt x="32962" y="0"/>
                </a:moveTo>
                <a:cubicBezTo>
                  <a:pt x="49442" y="0"/>
                  <a:pt x="64655" y="13489"/>
                  <a:pt x="64655" y="30657"/>
                </a:cubicBezTo>
                <a:lnTo>
                  <a:pt x="64655" y="105459"/>
                </a:lnTo>
                <a:cubicBezTo>
                  <a:pt x="64655" y="122627"/>
                  <a:pt x="49442" y="136116"/>
                  <a:pt x="32962" y="136116"/>
                </a:cubicBezTo>
                <a:cubicBezTo>
                  <a:pt x="15213" y="136116"/>
                  <a:pt x="0" y="122627"/>
                  <a:pt x="0" y="105459"/>
                </a:cubicBezTo>
                <a:lnTo>
                  <a:pt x="0" y="30657"/>
                </a:lnTo>
                <a:cubicBezTo>
                  <a:pt x="0" y="13489"/>
                  <a:pt x="15213" y="0"/>
                  <a:pt x="32962" y="0"/>
                </a:cubicBezTo>
                <a:close/>
              </a:path>
            </a:pathLst>
          </a:custGeom>
          <a:solidFill>
            <a:schemeClr val="accent3"/>
          </a:solidFill>
          <a:ln>
            <a:noFill/>
          </a:ln>
          <a:effectLst/>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0" name="Freeform 29">
            <a:extLst>
              <a:ext uri="{FF2B5EF4-FFF2-40B4-BE49-F238E27FC236}">
                <a16:creationId xmlns:a16="http://schemas.microsoft.com/office/drawing/2014/main" id="{D2E0CADA-4A1A-BB48-BABB-C0E7CE0D9BBB}"/>
              </a:ext>
            </a:extLst>
          </p:cNvPr>
          <p:cNvSpPr>
            <a:spLocks noChangeArrowheads="1"/>
          </p:cNvSpPr>
          <p:nvPr/>
        </p:nvSpPr>
        <p:spPr bwMode="auto">
          <a:xfrm>
            <a:off x="6424736" y="1638053"/>
            <a:ext cx="32340" cy="680582"/>
          </a:xfrm>
          <a:custGeom>
            <a:avLst/>
            <a:gdLst>
              <a:gd name="connsiteX0" fmla="*/ 32340 w 64679"/>
              <a:gd name="connsiteY0" fmla="*/ 1219583 h 1361164"/>
              <a:gd name="connsiteX1" fmla="*/ 64679 w 64679"/>
              <a:gd name="connsiteY1" fmla="*/ 1252159 h 1361164"/>
              <a:gd name="connsiteX2" fmla="*/ 64679 w 64679"/>
              <a:gd name="connsiteY2" fmla="*/ 1328588 h 1361164"/>
              <a:gd name="connsiteX3" fmla="*/ 32340 w 64679"/>
              <a:gd name="connsiteY3" fmla="*/ 1361164 h 1361164"/>
              <a:gd name="connsiteX4" fmla="*/ 0 w 64679"/>
              <a:gd name="connsiteY4" fmla="*/ 1328588 h 1361164"/>
              <a:gd name="connsiteX5" fmla="*/ 0 w 64679"/>
              <a:gd name="connsiteY5" fmla="*/ 1252159 h 1361164"/>
              <a:gd name="connsiteX6" fmla="*/ 32340 w 64679"/>
              <a:gd name="connsiteY6" fmla="*/ 1219583 h 1361164"/>
              <a:gd name="connsiteX7" fmla="*/ 32340 w 64679"/>
              <a:gd name="connsiteY7" fmla="*/ 894102 h 1361164"/>
              <a:gd name="connsiteX8" fmla="*/ 64679 w 64679"/>
              <a:gd name="connsiteY8" fmla="*/ 925227 h 1361164"/>
              <a:gd name="connsiteX9" fmla="*/ 64679 w 64679"/>
              <a:gd name="connsiteY9" fmla="*/ 1088324 h 1361164"/>
              <a:gd name="connsiteX10" fmla="*/ 32340 w 64679"/>
              <a:gd name="connsiteY10" fmla="*/ 1119449 h 1361164"/>
              <a:gd name="connsiteX11" fmla="*/ 0 w 64679"/>
              <a:gd name="connsiteY11" fmla="*/ 1088324 h 1361164"/>
              <a:gd name="connsiteX12" fmla="*/ 0 w 64679"/>
              <a:gd name="connsiteY12" fmla="*/ 925227 h 1361164"/>
              <a:gd name="connsiteX13" fmla="*/ 32340 w 64679"/>
              <a:gd name="connsiteY13" fmla="*/ 894102 h 1361164"/>
              <a:gd name="connsiteX14" fmla="*/ 32340 w 64679"/>
              <a:gd name="connsiteY14" fmla="*/ 566663 h 1361164"/>
              <a:gd name="connsiteX15" fmla="*/ 64679 w 64679"/>
              <a:gd name="connsiteY15" fmla="*/ 599034 h 1361164"/>
              <a:gd name="connsiteX16" fmla="*/ 64679 w 64679"/>
              <a:gd name="connsiteY16" fmla="*/ 762130 h 1361164"/>
              <a:gd name="connsiteX17" fmla="*/ 32340 w 64679"/>
              <a:gd name="connsiteY17" fmla="*/ 794501 h 1361164"/>
              <a:gd name="connsiteX18" fmla="*/ 0 w 64679"/>
              <a:gd name="connsiteY18" fmla="*/ 762130 h 1361164"/>
              <a:gd name="connsiteX19" fmla="*/ 0 w 64679"/>
              <a:gd name="connsiteY19" fmla="*/ 599034 h 1361164"/>
              <a:gd name="connsiteX20" fmla="*/ 32340 w 64679"/>
              <a:gd name="connsiteY20" fmla="*/ 566663 h 1361164"/>
              <a:gd name="connsiteX21" fmla="*/ 32340 w 64679"/>
              <a:gd name="connsiteY21" fmla="*/ 241715 h 1361164"/>
              <a:gd name="connsiteX22" fmla="*/ 64679 w 64679"/>
              <a:gd name="connsiteY22" fmla="*/ 272840 h 1361164"/>
              <a:gd name="connsiteX23" fmla="*/ 64679 w 64679"/>
              <a:gd name="connsiteY23" fmla="*/ 435937 h 1361164"/>
              <a:gd name="connsiteX24" fmla="*/ 32340 w 64679"/>
              <a:gd name="connsiteY24" fmla="*/ 467062 h 1361164"/>
              <a:gd name="connsiteX25" fmla="*/ 0 w 64679"/>
              <a:gd name="connsiteY25" fmla="*/ 435937 h 1361164"/>
              <a:gd name="connsiteX26" fmla="*/ 0 w 64679"/>
              <a:gd name="connsiteY26" fmla="*/ 272840 h 1361164"/>
              <a:gd name="connsiteX27" fmla="*/ 32340 w 64679"/>
              <a:gd name="connsiteY27" fmla="*/ 241715 h 1361164"/>
              <a:gd name="connsiteX28" fmla="*/ 32340 w 64679"/>
              <a:gd name="connsiteY28" fmla="*/ 0 h 1361164"/>
              <a:gd name="connsiteX29" fmla="*/ 64679 w 64679"/>
              <a:gd name="connsiteY29" fmla="*/ 32864 h 1361164"/>
              <a:gd name="connsiteX30" fmla="*/ 64679 w 64679"/>
              <a:gd name="connsiteY30" fmla="*/ 109970 h 1361164"/>
              <a:gd name="connsiteX31" fmla="*/ 32340 w 64679"/>
              <a:gd name="connsiteY31" fmla="*/ 141570 h 1361164"/>
              <a:gd name="connsiteX32" fmla="*/ 0 w 64679"/>
              <a:gd name="connsiteY32" fmla="*/ 109970 h 1361164"/>
              <a:gd name="connsiteX33" fmla="*/ 0 w 64679"/>
              <a:gd name="connsiteY33" fmla="*/ 32864 h 1361164"/>
              <a:gd name="connsiteX34" fmla="*/ 32340 w 64679"/>
              <a:gd name="connsiteY34" fmla="*/ 0 h 136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79" h="1361164">
                <a:moveTo>
                  <a:pt x="32340" y="1219583"/>
                </a:moveTo>
                <a:cubicBezTo>
                  <a:pt x="49753" y="1219583"/>
                  <a:pt x="64679" y="1234618"/>
                  <a:pt x="64679" y="1252159"/>
                </a:cubicBezTo>
                <a:lnTo>
                  <a:pt x="64679" y="1328588"/>
                </a:lnTo>
                <a:cubicBezTo>
                  <a:pt x="64679" y="1347382"/>
                  <a:pt x="49753" y="1361164"/>
                  <a:pt x="32340" y="1361164"/>
                </a:cubicBezTo>
                <a:cubicBezTo>
                  <a:pt x="14926" y="1361164"/>
                  <a:pt x="0" y="1347382"/>
                  <a:pt x="0" y="1328588"/>
                </a:cubicBezTo>
                <a:lnTo>
                  <a:pt x="0" y="1252159"/>
                </a:lnTo>
                <a:cubicBezTo>
                  <a:pt x="0" y="1234618"/>
                  <a:pt x="14926" y="1219583"/>
                  <a:pt x="32340" y="1219583"/>
                </a:cubicBezTo>
                <a:close/>
                <a:moveTo>
                  <a:pt x="32340" y="894102"/>
                </a:moveTo>
                <a:cubicBezTo>
                  <a:pt x="49753" y="894102"/>
                  <a:pt x="64679" y="907797"/>
                  <a:pt x="64679" y="925227"/>
                </a:cubicBezTo>
                <a:lnTo>
                  <a:pt x="64679" y="1088324"/>
                </a:lnTo>
                <a:cubicBezTo>
                  <a:pt x="64679" y="1105754"/>
                  <a:pt x="49753" y="1119449"/>
                  <a:pt x="32340" y="1119449"/>
                </a:cubicBezTo>
                <a:cubicBezTo>
                  <a:pt x="14926" y="1119449"/>
                  <a:pt x="0" y="1105754"/>
                  <a:pt x="0" y="1088324"/>
                </a:cubicBezTo>
                <a:lnTo>
                  <a:pt x="0" y="925227"/>
                </a:lnTo>
                <a:cubicBezTo>
                  <a:pt x="0" y="907797"/>
                  <a:pt x="14926" y="894102"/>
                  <a:pt x="32340" y="894102"/>
                </a:cubicBezTo>
                <a:close/>
                <a:moveTo>
                  <a:pt x="32340" y="566663"/>
                </a:moveTo>
                <a:cubicBezTo>
                  <a:pt x="49753" y="566663"/>
                  <a:pt x="64679" y="581603"/>
                  <a:pt x="64679" y="599034"/>
                </a:cubicBezTo>
                <a:lnTo>
                  <a:pt x="64679" y="762130"/>
                </a:lnTo>
                <a:cubicBezTo>
                  <a:pt x="64679" y="779560"/>
                  <a:pt x="49753" y="794501"/>
                  <a:pt x="32340" y="794501"/>
                </a:cubicBezTo>
                <a:cubicBezTo>
                  <a:pt x="14926" y="794501"/>
                  <a:pt x="0" y="779560"/>
                  <a:pt x="0" y="762130"/>
                </a:cubicBezTo>
                <a:lnTo>
                  <a:pt x="0" y="599034"/>
                </a:lnTo>
                <a:cubicBezTo>
                  <a:pt x="0" y="581603"/>
                  <a:pt x="14926" y="566663"/>
                  <a:pt x="32340" y="566663"/>
                </a:cubicBezTo>
                <a:close/>
                <a:moveTo>
                  <a:pt x="32340" y="241715"/>
                </a:moveTo>
                <a:cubicBezTo>
                  <a:pt x="49753" y="241715"/>
                  <a:pt x="64679" y="255410"/>
                  <a:pt x="64679" y="272840"/>
                </a:cubicBezTo>
                <a:lnTo>
                  <a:pt x="64679" y="435937"/>
                </a:lnTo>
                <a:cubicBezTo>
                  <a:pt x="64679" y="453367"/>
                  <a:pt x="49753" y="467062"/>
                  <a:pt x="32340" y="467062"/>
                </a:cubicBezTo>
                <a:cubicBezTo>
                  <a:pt x="14926" y="467062"/>
                  <a:pt x="0" y="453367"/>
                  <a:pt x="0" y="435937"/>
                </a:cubicBezTo>
                <a:lnTo>
                  <a:pt x="0" y="272840"/>
                </a:lnTo>
                <a:cubicBezTo>
                  <a:pt x="0" y="255410"/>
                  <a:pt x="14926" y="241715"/>
                  <a:pt x="32340" y="241715"/>
                </a:cubicBezTo>
                <a:close/>
                <a:moveTo>
                  <a:pt x="32340" y="0"/>
                </a:moveTo>
                <a:cubicBezTo>
                  <a:pt x="49753" y="0"/>
                  <a:pt x="64679" y="15168"/>
                  <a:pt x="64679" y="32864"/>
                </a:cubicBezTo>
                <a:lnTo>
                  <a:pt x="64679" y="109970"/>
                </a:lnTo>
                <a:cubicBezTo>
                  <a:pt x="64679" y="127666"/>
                  <a:pt x="49753" y="141570"/>
                  <a:pt x="32340" y="141570"/>
                </a:cubicBezTo>
                <a:cubicBezTo>
                  <a:pt x="14926" y="141570"/>
                  <a:pt x="0" y="127666"/>
                  <a:pt x="0" y="109970"/>
                </a:cubicBezTo>
                <a:lnTo>
                  <a:pt x="0" y="32864"/>
                </a:lnTo>
                <a:cubicBezTo>
                  <a:pt x="0" y="15168"/>
                  <a:pt x="14926" y="0"/>
                  <a:pt x="32340" y="0"/>
                </a:cubicBezTo>
                <a:close/>
              </a:path>
            </a:pathLst>
          </a:custGeom>
          <a:solidFill>
            <a:schemeClr val="accent4"/>
          </a:solidFill>
          <a:ln>
            <a:noFill/>
          </a:ln>
          <a:effectLst/>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1" name="Freeform 30">
            <a:extLst>
              <a:ext uri="{FF2B5EF4-FFF2-40B4-BE49-F238E27FC236}">
                <a16:creationId xmlns:a16="http://schemas.microsoft.com/office/drawing/2014/main" id="{17B94009-E54E-184A-A8B1-D95EFE95A0D3}"/>
              </a:ext>
            </a:extLst>
          </p:cNvPr>
          <p:cNvSpPr>
            <a:spLocks noChangeArrowheads="1"/>
          </p:cNvSpPr>
          <p:nvPr/>
        </p:nvSpPr>
        <p:spPr bwMode="auto">
          <a:xfrm>
            <a:off x="7484386" y="4524914"/>
            <a:ext cx="32328" cy="677833"/>
          </a:xfrm>
          <a:custGeom>
            <a:avLst/>
            <a:gdLst>
              <a:gd name="connsiteX0" fmla="*/ 32962 w 64656"/>
              <a:gd name="connsiteY0" fmla="*/ 1214095 h 1355665"/>
              <a:gd name="connsiteX1" fmla="*/ 64656 w 64656"/>
              <a:gd name="connsiteY1" fmla="*/ 1245696 h 1355665"/>
              <a:gd name="connsiteX2" fmla="*/ 64656 w 64656"/>
              <a:gd name="connsiteY2" fmla="*/ 1322801 h 1355665"/>
              <a:gd name="connsiteX3" fmla="*/ 32962 w 64656"/>
              <a:gd name="connsiteY3" fmla="*/ 1355665 h 1355665"/>
              <a:gd name="connsiteX4" fmla="*/ 0 w 64656"/>
              <a:gd name="connsiteY4" fmla="*/ 1322801 h 1355665"/>
              <a:gd name="connsiteX5" fmla="*/ 0 w 64656"/>
              <a:gd name="connsiteY5" fmla="*/ 1245696 h 1355665"/>
              <a:gd name="connsiteX6" fmla="*/ 32962 w 64656"/>
              <a:gd name="connsiteY6" fmla="*/ 1214095 h 1355665"/>
              <a:gd name="connsiteX7" fmla="*/ 32962 w 64656"/>
              <a:gd name="connsiteY7" fmla="*/ 888615 h 1355665"/>
              <a:gd name="connsiteX8" fmla="*/ 64656 w 64656"/>
              <a:gd name="connsiteY8" fmla="*/ 919740 h 1355665"/>
              <a:gd name="connsiteX9" fmla="*/ 64656 w 64656"/>
              <a:gd name="connsiteY9" fmla="*/ 1081592 h 1355665"/>
              <a:gd name="connsiteX10" fmla="*/ 32962 w 64656"/>
              <a:gd name="connsiteY10" fmla="*/ 1113962 h 1355665"/>
              <a:gd name="connsiteX11" fmla="*/ 0 w 64656"/>
              <a:gd name="connsiteY11" fmla="*/ 1081592 h 1355665"/>
              <a:gd name="connsiteX12" fmla="*/ 0 w 64656"/>
              <a:gd name="connsiteY12" fmla="*/ 919740 h 1355665"/>
              <a:gd name="connsiteX13" fmla="*/ 32962 w 64656"/>
              <a:gd name="connsiteY13" fmla="*/ 888615 h 1355665"/>
              <a:gd name="connsiteX14" fmla="*/ 32962 w 64656"/>
              <a:gd name="connsiteY14" fmla="*/ 561177 h 1355665"/>
              <a:gd name="connsiteX15" fmla="*/ 64656 w 64656"/>
              <a:gd name="connsiteY15" fmla="*/ 593547 h 1355665"/>
              <a:gd name="connsiteX16" fmla="*/ 64656 w 64656"/>
              <a:gd name="connsiteY16" fmla="*/ 756644 h 1355665"/>
              <a:gd name="connsiteX17" fmla="*/ 32962 w 64656"/>
              <a:gd name="connsiteY17" fmla="*/ 787769 h 1355665"/>
              <a:gd name="connsiteX18" fmla="*/ 0 w 64656"/>
              <a:gd name="connsiteY18" fmla="*/ 756644 h 1355665"/>
              <a:gd name="connsiteX19" fmla="*/ 0 w 64656"/>
              <a:gd name="connsiteY19" fmla="*/ 593547 h 1355665"/>
              <a:gd name="connsiteX20" fmla="*/ 32962 w 64656"/>
              <a:gd name="connsiteY20" fmla="*/ 561177 h 1355665"/>
              <a:gd name="connsiteX21" fmla="*/ 32962 w 64656"/>
              <a:gd name="connsiteY21" fmla="*/ 236228 h 1355665"/>
              <a:gd name="connsiteX22" fmla="*/ 64656 w 64656"/>
              <a:gd name="connsiteY22" fmla="*/ 267354 h 1355665"/>
              <a:gd name="connsiteX23" fmla="*/ 64656 w 64656"/>
              <a:gd name="connsiteY23" fmla="*/ 430450 h 1355665"/>
              <a:gd name="connsiteX24" fmla="*/ 32962 w 64656"/>
              <a:gd name="connsiteY24" fmla="*/ 462821 h 1355665"/>
              <a:gd name="connsiteX25" fmla="*/ 0 w 64656"/>
              <a:gd name="connsiteY25" fmla="*/ 430450 h 1355665"/>
              <a:gd name="connsiteX26" fmla="*/ 0 w 64656"/>
              <a:gd name="connsiteY26" fmla="*/ 267354 h 1355665"/>
              <a:gd name="connsiteX27" fmla="*/ 32962 w 64656"/>
              <a:gd name="connsiteY27" fmla="*/ 236228 h 1355665"/>
              <a:gd name="connsiteX28" fmla="*/ 32962 w 64656"/>
              <a:gd name="connsiteY28" fmla="*/ 0 h 1355665"/>
              <a:gd name="connsiteX29" fmla="*/ 64656 w 64656"/>
              <a:gd name="connsiteY29" fmla="*/ 30657 h 1355665"/>
              <a:gd name="connsiteX30" fmla="*/ 64656 w 64656"/>
              <a:gd name="connsiteY30" fmla="*/ 105459 h 1355665"/>
              <a:gd name="connsiteX31" fmla="*/ 32962 w 64656"/>
              <a:gd name="connsiteY31" fmla="*/ 136116 h 1355665"/>
              <a:gd name="connsiteX32" fmla="*/ 0 w 64656"/>
              <a:gd name="connsiteY32" fmla="*/ 105459 h 1355665"/>
              <a:gd name="connsiteX33" fmla="*/ 0 w 64656"/>
              <a:gd name="connsiteY33" fmla="*/ 30657 h 1355665"/>
              <a:gd name="connsiteX34" fmla="*/ 32962 w 64656"/>
              <a:gd name="connsiteY34" fmla="*/ 0 h 1355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656" h="1355665">
                <a:moveTo>
                  <a:pt x="32962" y="1214095"/>
                </a:moveTo>
                <a:cubicBezTo>
                  <a:pt x="50710" y="1214095"/>
                  <a:pt x="64656" y="1227999"/>
                  <a:pt x="64656" y="1245696"/>
                </a:cubicBezTo>
                <a:lnTo>
                  <a:pt x="64656" y="1322801"/>
                </a:lnTo>
                <a:cubicBezTo>
                  <a:pt x="64656" y="1340497"/>
                  <a:pt x="50710" y="1355665"/>
                  <a:pt x="32962" y="1355665"/>
                </a:cubicBezTo>
                <a:cubicBezTo>
                  <a:pt x="15212" y="1355665"/>
                  <a:pt x="0" y="1340497"/>
                  <a:pt x="0" y="1322801"/>
                </a:cubicBezTo>
                <a:lnTo>
                  <a:pt x="0" y="1245696"/>
                </a:lnTo>
                <a:cubicBezTo>
                  <a:pt x="0" y="1227999"/>
                  <a:pt x="15212" y="1214095"/>
                  <a:pt x="32962" y="1214095"/>
                </a:cubicBezTo>
                <a:close/>
                <a:moveTo>
                  <a:pt x="32962" y="888615"/>
                </a:moveTo>
                <a:cubicBezTo>
                  <a:pt x="50710" y="888615"/>
                  <a:pt x="64656" y="902310"/>
                  <a:pt x="64656" y="919740"/>
                </a:cubicBezTo>
                <a:lnTo>
                  <a:pt x="64656" y="1081592"/>
                </a:lnTo>
                <a:cubicBezTo>
                  <a:pt x="64656" y="1099022"/>
                  <a:pt x="50710" y="1113962"/>
                  <a:pt x="32962" y="1113962"/>
                </a:cubicBezTo>
                <a:cubicBezTo>
                  <a:pt x="15212" y="1113962"/>
                  <a:pt x="0" y="1099022"/>
                  <a:pt x="0" y="1081592"/>
                </a:cubicBezTo>
                <a:lnTo>
                  <a:pt x="0" y="919740"/>
                </a:lnTo>
                <a:cubicBezTo>
                  <a:pt x="0" y="902310"/>
                  <a:pt x="15212" y="888615"/>
                  <a:pt x="32962" y="888615"/>
                </a:cubicBezTo>
                <a:close/>
                <a:moveTo>
                  <a:pt x="32962" y="561177"/>
                </a:moveTo>
                <a:cubicBezTo>
                  <a:pt x="50710" y="561177"/>
                  <a:pt x="64656" y="576117"/>
                  <a:pt x="64656" y="593547"/>
                </a:cubicBezTo>
                <a:lnTo>
                  <a:pt x="64656" y="756644"/>
                </a:lnTo>
                <a:cubicBezTo>
                  <a:pt x="64656" y="774074"/>
                  <a:pt x="50710" y="787769"/>
                  <a:pt x="32962" y="787769"/>
                </a:cubicBezTo>
                <a:cubicBezTo>
                  <a:pt x="15212" y="787769"/>
                  <a:pt x="0" y="774074"/>
                  <a:pt x="0" y="756644"/>
                </a:cubicBezTo>
                <a:lnTo>
                  <a:pt x="0" y="593547"/>
                </a:lnTo>
                <a:cubicBezTo>
                  <a:pt x="0" y="576117"/>
                  <a:pt x="15212" y="561177"/>
                  <a:pt x="32962" y="561177"/>
                </a:cubicBezTo>
                <a:close/>
                <a:moveTo>
                  <a:pt x="32962" y="236228"/>
                </a:moveTo>
                <a:cubicBezTo>
                  <a:pt x="50710" y="236228"/>
                  <a:pt x="64656" y="249923"/>
                  <a:pt x="64656" y="267354"/>
                </a:cubicBezTo>
                <a:lnTo>
                  <a:pt x="64656" y="430450"/>
                </a:lnTo>
                <a:cubicBezTo>
                  <a:pt x="64656" y="447880"/>
                  <a:pt x="50710" y="462821"/>
                  <a:pt x="32962" y="462821"/>
                </a:cubicBezTo>
                <a:cubicBezTo>
                  <a:pt x="15212" y="462821"/>
                  <a:pt x="0" y="447880"/>
                  <a:pt x="0" y="430450"/>
                </a:cubicBezTo>
                <a:lnTo>
                  <a:pt x="0" y="267354"/>
                </a:lnTo>
                <a:cubicBezTo>
                  <a:pt x="0" y="249923"/>
                  <a:pt x="15212" y="236228"/>
                  <a:pt x="32962" y="236228"/>
                </a:cubicBezTo>
                <a:close/>
                <a:moveTo>
                  <a:pt x="32962" y="0"/>
                </a:moveTo>
                <a:cubicBezTo>
                  <a:pt x="50710" y="0"/>
                  <a:pt x="64656" y="13489"/>
                  <a:pt x="64656" y="30657"/>
                </a:cubicBezTo>
                <a:lnTo>
                  <a:pt x="64656" y="105459"/>
                </a:lnTo>
                <a:cubicBezTo>
                  <a:pt x="64656" y="122627"/>
                  <a:pt x="50710" y="136116"/>
                  <a:pt x="32962" y="136116"/>
                </a:cubicBezTo>
                <a:cubicBezTo>
                  <a:pt x="15212" y="136116"/>
                  <a:pt x="0" y="122627"/>
                  <a:pt x="0" y="105459"/>
                </a:cubicBezTo>
                <a:lnTo>
                  <a:pt x="0" y="30657"/>
                </a:lnTo>
                <a:cubicBezTo>
                  <a:pt x="0" y="13489"/>
                  <a:pt x="15212" y="0"/>
                  <a:pt x="32962" y="0"/>
                </a:cubicBezTo>
                <a:close/>
              </a:path>
            </a:pathLst>
          </a:custGeom>
          <a:solidFill>
            <a:schemeClr val="accent6"/>
          </a:solidFill>
          <a:ln>
            <a:noFill/>
          </a:ln>
          <a:effectLst/>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6" name="TextBox 5">
            <a:extLst>
              <a:ext uri="{FF2B5EF4-FFF2-40B4-BE49-F238E27FC236}">
                <a16:creationId xmlns:a16="http://schemas.microsoft.com/office/drawing/2014/main" id="{29D46E10-6EC2-AF4A-B43D-F4E978BA3091}"/>
              </a:ext>
            </a:extLst>
          </p:cNvPr>
          <p:cNvSpPr txBox="1"/>
          <p:nvPr/>
        </p:nvSpPr>
        <p:spPr>
          <a:xfrm>
            <a:off x="176940" y="1180249"/>
            <a:ext cx="2062327" cy="1004314"/>
          </a:xfrm>
          <a:prstGeom prst="rect">
            <a:avLst/>
          </a:prstGeom>
          <a:noFill/>
        </p:spPr>
        <p:txBody>
          <a:bodyPr wrap="square" rtlCol="0" anchor="t">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m 8-K must be filed within </a:t>
            </a:r>
            <a:r>
              <a:rPr kumimoji="0" lang="en-US" sz="1400" b="0" i="0" u="none" strike="noStrike" kern="1200" cap="none" spc="-15" normalizeH="0" baseline="0" noProof="0" dirty="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4 business days </a:t>
            </a: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of determining that an incident is “material”</a:t>
            </a:r>
          </a:p>
        </p:txBody>
      </p:sp>
      <p:sp>
        <p:nvSpPr>
          <p:cNvPr id="7" name="TextBox 6">
            <a:extLst>
              <a:ext uri="{FF2B5EF4-FFF2-40B4-BE49-F238E27FC236}">
                <a16:creationId xmlns:a16="http://schemas.microsoft.com/office/drawing/2014/main" id="{B2B6D017-FF22-5049-8122-48C02B156308}"/>
              </a:ext>
            </a:extLst>
          </p:cNvPr>
          <p:cNvSpPr txBox="1"/>
          <p:nvPr/>
        </p:nvSpPr>
        <p:spPr>
          <a:xfrm>
            <a:off x="172916" y="847563"/>
            <a:ext cx="2298065" cy="363561"/>
          </a:xfrm>
          <a:prstGeom prst="rect">
            <a:avLst/>
          </a:prstGeom>
          <a:noFill/>
        </p:spPr>
        <p:txBody>
          <a:bodyPr wrap="none" rtlCol="0" anchor="b">
            <a:spAutoFit/>
          </a:bodyPr>
          <a:lstStyle/>
          <a:p>
            <a:pPr marL="0" marR="0" lvl="0" indent="0" algn="ctr" defTabSz="457200" rtl="0" eaLnBrk="1" fontAlgn="auto" latinLnBrk="0" hangingPunct="1">
              <a:lnSpc>
                <a:spcPts val="2160"/>
              </a:lnSpc>
              <a:spcBef>
                <a:spcPts val="0"/>
              </a:spcBef>
              <a:spcAft>
                <a:spcPts val="0"/>
              </a:spcAft>
              <a:buClrTx/>
              <a:buSzTx/>
              <a:buFontTx/>
              <a:buNone/>
              <a:tabLst/>
              <a:defRPr/>
            </a:pPr>
            <a:r>
              <a:rPr kumimoji="0" lang="en-US" sz="1800" b="1" i="0" u="none" strike="noStrike" kern="1200" cap="none" spc="-15" normalizeH="0" baseline="0" noProof="0" dirty="0">
                <a:ln>
                  <a:noFill/>
                </a:ln>
                <a:solidFill>
                  <a:srgbClr val="D52B1E"/>
                </a:solidFill>
                <a:effectLst/>
                <a:uLnTx/>
                <a:uFillTx/>
                <a:latin typeface="Open Sans" panose="020B0606030504020204" pitchFamily="34" charset="0"/>
                <a:ea typeface="Open Sans" panose="020B0606030504020204" pitchFamily="34" charset="0"/>
                <a:cs typeface="Open Sans" panose="020B0606030504020204" pitchFamily="34" charset="0"/>
              </a:rPr>
              <a:t>Incident Reporting</a:t>
            </a:r>
          </a:p>
        </p:txBody>
      </p:sp>
      <p:sp>
        <p:nvSpPr>
          <p:cNvPr id="8" name="TextBox 7">
            <a:extLst>
              <a:ext uri="{FF2B5EF4-FFF2-40B4-BE49-F238E27FC236}">
                <a16:creationId xmlns:a16="http://schemas.microsoft.com/office/drawing/2014/main" id="{0296A7BB-32C1-594E-BF41-303AF94C5BAF}"/>
              </a:ext>
            </a:extLst>
          </p:cNvPr>
          <p:cNvSpPr txBox="1"/>
          <p:nvPr/>
        </p:nvSpPr>
        <p:spPr>
          <a:xfrm>
            <a:off x="1698256" y="4801452"/>
            <a:ext cx="2303986" cy="1235146"/>
          </a:xfrm>
          <a:prstGeom prst="rect">
            <a:avLst/>
          </a:prstGeom>
          <a:noFill/>
        </p:spPr>
        <p:txBody>
          <a:bodyPr wrap="square" rtlCol="0" anchor="t">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Forms 10-K and 20-F must describe </a:t>
            </a:r>
            <a:r>
              <a:rPr kumimoji="0" lang="en-US" sz="1400" b="0" i="0" u="none" strike="noStrike" kern="1200" cap="none" spc="-15" normalizeH="0" baseline="0" noProof="0" dirty="0">
                <a:ln>
                  <a:noFill/>
                </a:ln>
                <a:solidFill>
                  <a:srgbClr val="FF9900"/>
                </a:solidFill>
                <a:effectLst/>
                <a:uLnTx/>
                <a:uFillTx/>
                <a:latin typeface="Open Sans" panose="020B0606030504020204" pitchFamily="34" charset="0"/>
                <a:ea typeface="Open Sans" panose="020B0606030504020204" pitchFamily="34" charset="0"/>
                <a:cs typeface="Open Sans" panose="020B0606030504020204" pitchFamily="34" charset="0"/>
              </a:rPr>
              <a:t>processes for assessing, identifying, and managing </a:t>
            </a: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material risks from cyber threats</a:t>
            </a:r>
          </a:p>
        </p:txBody>
      </p:sp>
      <p:sp>
        <p:nvSpPr>
          <p:cNvPr id="9" name="TextBox 8">
            <a:extLst>
              <a:ext uri="{FF2B5EF4-FFF2-40B4-BE49-F238E27FC236}">
                <a16:creationId xmlns:a16="http://schemas.microsoft.com/office/drawing/2014/main" id="{484F9B02-8D5B-124F-A372-25127717CE90}"/>
              </a:ext>
            </a:extLst>
          </p:cNvPr>
          <p:cNvSpPr txBox="1"/>
          <p:nvPr/>
        </p:nvSpPr>
        <p:spPr>
          <a:xfrm>
            <a:off x="1956559" y="4441225"/>
            <a:ext cx="2109872" cy="360227"/>
          </a:xfrm>
          <a:prstGeom prst="rect">
            <a:avLst/>
          </a:prstGeom>
          <a:noFill/>
        </p:spPr>
        <p:txBody>
          <a:bodyPr wrap="none" rtlCol="0" anchor="b">
            <a:spAutoFit/>
          </a:bodyPr>
          <a:lstStyle/>
          <a:p>
            <a:pPr marL="0" marR="0" lvl="0" indent="0" algn="ctr" defTabSz="457200" rtl="0" eaLnBrk="1" fontAlgn="auto" latinLnBrk="0" hangingPunct="1">
              <a:lnSpc>
                <a:spcPts val="2160"/>
              </a:lnSpc>
              <a:spcBef>
                <a:spcPts val="0"/>
              </a:spcBef>
              <a:spcAft>
                <a:spcPts val="0"/>
              </a:spcAft>
              <a:buClrTx/>
              <a:buSzTx/>
              <a:buFontTx/>
              <a:buNone/>
              <a:tabLst/>
              <a:defRPr/>
            </a:pPr>
            <a:r>
              <a:rPr kumimoji="0" lang="en-US" sz="1650" b="1" i="0" u="none" strike="noStrike" kern="1200" cap="none" spc="-15" normalizeH="0" baseline="0" noProof="0" dirty="0">
                <a:ln>
                  <a:noFill/>
                </a:ln>
                <a:solidFill>
                  <a:srgbClr val="FF9900"/>
                </a:solidFill>
                <a:effectLst/>
                <a:uLnTx/>
                <a:uFillTx/>
                <a:latin typeface="Open Sans" panose="020B0606030504020204" pitchFamily="34" charset="0"/>
                <a:ea typeface="Open Sans" panose="020B0606030504020204" pitchFamily="34" charset="0"/>
                <a:cs typeface="Open Sans" panose="020B0606030504020204" pitchFamily="34" charset="0"/>
              </a:rPr>
              <a:t>Risk Management</a:t>
            </a:r>
          </a:p>
        </p:txBody>
      </p:sp>
      <p:sp>
        <p:nvSpPr>
          <p:cNvPr id="10" name="TextBox 9">
            <a:extLst>
              <a:ext uri="{FF2B5EF4-FFF2-40B4-BE49-F238E27FC236}">
                <a16:creationId xmlns:a16="http://schemas.microsoft.com/office/drawing/2014/main" id="{D5D954D3-C2F4-F74B-AE14-1B9106F6F9DC}"/>
              </a:ext>
            </a:extLst>
          </p:cNvPr>
          <p:cNvSpPr txBox="1"/>
          <p:nvPr/>
        </p:nvSpPr>
        <p:spPr>
          <a:xfrm>
            <a:off x="3136632" y="1182946"/>
            <a:ext cx="2541365" cy="773481"/>
          </a:xfrm>
          <a:prstGeom prst="rect">
            <a:avLst/>
          </a:prstGeom>
          <a:noFill/>
        </p:spPr>
        <p:txBody>
          <a:bodyPr wrap="square" rtlCol="0" anchor="t">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scribe the </a:t>
            </a:r>
            <a:r>
              <a:rPr kumimoji="0" lang="en-US" sz="1400" b="0" i="0" u="none" strike="noStrike" kern="1200" cap="none" spc="-15" normalizeH="0" baseline="0" noProof="0" dirty="0">
                <a:ln>
                  <a:noFill/>
                </a:ln>
                <a:solidFill>
                  <a:srgbClr val="359B4C">
                    <a:lumMod val="75000"/>
                  </a:srgbClr>
                </a:solidFill>
                <a:effectLst/>
                <a:uLnTx/>
                <a:uFillTx/>
                <a:latin typeface="Open Sans" panose="020B0606030504020204" pitchFamily="34" charset="0"/>
                <a:ea typeface="Open Sans" panose="020B0606030504020204" pitchFamily="34" charset="0"/>
                <a:cs typeface="Open Sans" panose="020B0606030504020204" pitchFamily="34" charset="0"/>
              </a:rPr>
              <a:t>role of the board of directors </a:t>
            </a: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n overseeing cyber risk </a:t>
            </a:r>
          </a:p>
        </p:txBody>
      </p:sp>
      <p:sp>
        <p:nvSpPr>
          <p:cNvPr id="11" name="TextBox 10">
            <a:extLst>
              <a:ext uri="{FF2B5EF4-FFF2-40B4-BE49-F238E27FC236}">
                <a16:creationId xmlns:a16="http://schemas.microsoft.com/office/drawing/2014/main" id="{254AE842-C272-2D46-A2D6-DC3431DD9A01}"/>
              </a:ext>
            </a:extLst>
          </p:cNvPr>
          <p:cNvSpPr txBox="1"/>
          <p:nvPr/>
        </p:nvSpPr>
        <p:spPr>
          <a:xfrm>
            <a:off x="3395568" y="847563"/>
            <a:ext cx="2023503" cy="363561"/>
          </a:xfrm>
          <a:prstGeom prst="rect">
            <a:avLst/>
          </a:prstGeom>
          <a:noFill/>
        </p:spPr>
        <p:txBody>
          <a:bodyPr wrap="none" rtlCol="0" anchor="b">
            <a:spAutoFit/>
          </a:bodyPr>
          <a:lstStyle/>
          <a:p>
            <a:pPr marL="0" marR="0" lvl="0" indent="0" algn="ctr" defTabSz="457200" rtl="0" eaLnBrk="1" fontAlgn="auto" latinLnBrk="0" hangingPunct="1">
              <a:lnSpc>
                <a:spcPts val="2160"/>
              </a:lnSpc>
              <a:spcBef>
                <a:spcPts val="0"/>
              </a:spcBef>
              <a:spcAft>
                <a:spcPts val="0"/>
              </a:spcAft>
              <a:buClrTx/>
              <a:buSzTx/>
              <a:buFontTx/>
              <a:buNone/>
              <a:tabLst/>
              <a:defRPr/>
            </a:pPr>
            <a:r>
              <a:rPr kumimoji="0" lang="en-US" sz="1800" b="1" i="0" u="none" strike="noStrike" kern="1200" cap="none" spc="-15" normalizeH="0" baseline="0" noProof="0" dirty="0">
                <a:ln>
                  <a:noFill/>
                </a:ln>
                <a:solidFill>
                  <a:srgbClr val="359B4C"/>
                </a:solidFill>
                <a:effectLst/>
                <a:uLnTx/>
                <a:uFillTx/>
                <a:latin typeface="Open Sans" panose="020B0606030504020204" pitchFamily="34" charset="0"/>
                <a:ea typeface="Open Sans" panose="020B0606030504020204" pitchFamily="34" charset="0"/>
                <a:cs typeface="Open Sans" panose="020B0606030504020204" pitchFamily="34" charset="0"/>
              </a:rPr>
              <a:t>Board Oversight</a:t>
            </a:r>
          </a:p>
        </p:txBody>
      </p:sp>
      <p:sp>
        <p:nvSpPr>
          <p:cNvPr id="13" name="TextBox 12">
            <a:extLst>
              <a:ext uri="{FF2B5EF4-FFF2-40B4-BE49-F238E27FC236}">
                <a16:creationId xmlns:a16="http://schemas.microsoft.com/office/drawing/2014/main" id="{C9D7FE62-7267-C841-BB31-34B89D2AC80F}"/>
              </a:ext>
            </a:extLst>
          </p:cNvPr>
          <p:cNvSpPr txBox="1"/>
          <p:nvPr/>
        </p:nvSpPr>
        <p:spPr>
          <a:xfrm>
            <a:off x="6273697" y="1182796"/>
            <a:ext cx="2303986" cy="1004314"/>
          </a:xfrm>
          <a:prstGeom prst="rect">
            <a:avLst/>
          </a:prstGeom>
          <a:noFill/>
        </p:spPr>
        <p:txBody>
          <a:bodyPr wrap="square" rtlCol="0" anchor="t">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Detail </a:t>
            </a:r>
            <a:r>
              <a:rPr kumimoji="0" lang="en-US" sz="1400" b="0" i="0" u="none" strike="noStrike" kern="1200" cap="none" spc="-15" normalizeH="0" baseline="0" noProof="0" dirty="0">
                <a:ln>
                  <a:noFill/>
                </a:ln>
                <a:solidFill>
                  <a:srgbClr val="00BBEE"/>
                </a:solidFill>
                <a:effectLst/>
                <a:uLnTx/>
                <a:uFillTx/>
                <a:latin typeface="Open Sans" panose="020B0606030504020204" pitchFamily="34" charset="0"/>
                <a:ea typeface="Open Sans" panose="020B0606030504020204" pitchFamily="34" charset="0"/>
                <a:cs typeface="Open Sans" panose="020B0606030504020204" pitchFamily="34" charset="0"/>
              </a:rPr>
              <a:t>responsible positions + processes </a:t>
            </a: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monitor and manage material risks</a:t>
            </a:r>
          </a:p>
        </p:txBody>
      </p:sp>
      <p:sp>
        <p:nvSpPr>
          <p:cNvPr id="14" name="TextBox 13">
            <a:extLst>
              <a:ext uri="{FF2B5EF4-FFF2-40B4-BE49-F238E27FC236}">
                <a16:creationId xmlns:a16="http://schemas.microsoft.com/office/drawing/2014/main" id="{B4729B02-83CA-7A4D-ABF2-AEB723B730D9}"/>
              </a:ext>
            </a:extLst>
          </p:cNvPr>
          <p:cNvSpPr txBox="1"/>
          <p:nvPr/>
        </p:nvSpPr>
        <p:spPr>
          <a:xfrm>
            <a:off x="6103239" y="847563"/>
            <a:ext cx="2533707" cy="363561"/>
          </a:xfrm>
          <a:prstGeom prst="rect">
            <a:avLst/>
          </a:prstGeom>
          <a:noFill/>
        </p:spPr>
        <p:txBody>
          <a:bodyPr wrap="none" rtlCol="0" anchor="b">
            <a:spAutoFit/>
          </a:bodyPr>
          <a:lstStyle/>
          <a:p>
            <a:pPr marL="0" marR="0" lvl="0" indent="0" algn="ctr" defTabSz="457200" rtl="0" eaLnBrk="1" fontAlgn="auto" latinLnBrk="0" hangingPunct="1">
              <a:lnSpc>
                <a:spcPts val="2160"/>
              </a:lnSpc>
              <a:spcBef>
                <a:spcPts val="0"/>
              </a:spcBef>
              <a:spcAft>
                <a:spcPts val="0"/>
              </a:spcAft>
              <a:buClrTx/>
              <a:buSzTx/>
              <a:buFontTx/>
              <a:buNone/>
              <a:tabLst/>
              <a:defRPr/>
            </a:pPr>
            <a:r>
              <a:rPr kumimoji="0" lang="en-US" sz="1800" b="1" i="0" u="none" strike="noStrike" kern="1200" cap="none" spc="-15" normalizeH="0" baseline="0" noProof="0" dirty="0">
                <a:ln>
                  <a:noFill/>
                </a:ln>
                <a:solidFill>
                  <a:srgbClr val="00BBEE"/>
                </a:solidFill>
                <a:effectLst/>
                <a:uLnTx/>
                <a:uFillTx/>
                <a:latin typeface="Open Sans" panose="020B0606030504020204" pitchFamily="34" charset="0"/>
                <a:ea typeface="Open Sans" panose="020B0606030504020204" pitchFamily="34" charset="0"/>
                <a:cs typeface="Open Sans" panose="020B0606030504020204" pitchFamily="34" charset="0"/>
              </a:rPr>
              <a:t>Role of Management</a:t>
            </a:r>
          </a:p>
        </p:txBody>
      </p:sp>
      <p:sp>
        <p:nvSpPr>
          <p:cNvPr id="15" name="TextBox 14">
            <a:extLst>
              <a:ext uri="{FF2B5EF4-FFF2-40B4-BE49-F238E27FC236}">
                <a16:creationId xmlns:a16="http://schemas.microsoft.com/office/drawing/2014/main" id="{A29B5E1F-159E-D54D-85EF-2F2DAA5505F4}"/>
              </a:ext>
            </a:extLst>
          </p:cNvPr>
          <p:cNvSpPr txBox="1"/>
          <p:nvPr/>
        </p:nvSpPr>
        <p:spPr>
          <a:xfrm>
            <a:off x="5419071" y="5523449"/>
            <a:ext cx="2833097" cy="1004314"/>
          </a:xfrm>
          <a:prstGeom prst="rect">
            <a:avLst/>
          </a:prstGeom>
          <a:noFill/>
        </p:spPr>
        <p:txBody>
          <a:bodyPr wrap="square" rtlCol="0" anchor="t">
            <a:spAutoFit/>
          </a:bodyPr>
          <a:lstStyle/>
          <a:p>
            <a:pPr marL="0" marR="0" lvl="0" indent="0" algn="ctr" defTabSz="457200" rtl="0" eaLnBrk="1" fontAlgn="auto" latinLnBrk="0" hangingPunct="1">
              <a:lnSpc>
                <a:spcPts val="1800"/>
              </a:lnSpc>
              <a:spcBef>
                <a:spcPts val="0"/>
              </a:spcBef>
              <a:spcAft>
                <a:spcPts val="0"/>
              </a:spcAft>
              <a:buClrTx/>
              <a:buSzTx/>
              <a:buFontTx/>
              <a:buNone/>
              <a:tabLst/>
              <a:defRPr/>
            </a:pP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Identify whether </a:t>
            </a:r>
            <a:r>
              <a:rPr kumimoji="0" lang="en-US" sz="1400" b="0" i="0" u="none" strike="noStrike" kern="1200" cap="none" spc="-15" normalizeH="0" baseline="0" noProof="0" dirty="0">
                <a:ln>
                  <a:noFill/>
                </a:ln>
                <a:solidFill>
                  <a:srgbClr val="993399"/>
                </a:solidFill>
                <a:effectLst/>
                <a:uLnTx/>
                <a:uFillTx/>
                <a:latin typeface="Open Sans" panose="020B0606030504020204" pitchFamily="34" charset="0"/>
                <a:ea typeface="Open Sans" panose="020B0606030504020204" pitchFamily="34" charset="0"/>
                <a:cs typeface="Open Sans" panose="020B0606030504020204" pitchFamily="34" charset="0"/>
              </a:rPr>
              <a:t>any third-parties are engaged </a:t>
            </a:r>
            <a:r>
              <a:rPr kumimoji="0" lang="en-US" sz="1400" b="0" i="0" u="none" strike="noStrike" kern="1200" cap="none" spc="-15"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to assist with cyber risk management processes</a:t>
            </a:r>
          </a:p>
        </p:txBody>
      </p:sp>
      <p:sp>
        <p:nvSpPr>
          <p:cNvPr id="16" name="TextBox 15">
            <a:extLst>
              <a:ext uri="{FF2B5EF4-FFF2-40B4-BE49-F238E27FC236}">
                <a16:creationId xmlns:a16="http://schemas.microsoft.com/office/drawing/2014/main" id="{99D892D6-F3A2-B543-9EBF-AC9CFA35EA32}"/>
              </a:ext>
            </a:extLst>
          </p:cNvPr>
          <p:cNvSpPr txBox="1"/>
          <p:nvPr/>
        </p:nvSpPr>
        <p:spPr>
          <a:xfrm>
            <a:off x="5649949" y="5186297"/>
            <a:ext cx="2718116" cy="356957"/>
          </a:xfrm>
          <a:prstGeom prst="rect">
            <a:avLst/>
          </a:prstGeom>
          <a:noFill/>
        </p:spPr>
        <p:txBody>
          <a:bodyPr wrap="none" rtlCol="0" anchor="b">
            <a:spAutoFit/>
          </a:bodyPr>
          <a:lstStyle/>
          <a:p>
            <a:pPr marL="0" marR="0" lvl="0" indent="0" algn="ctr" defTabSz="457200" rtl="0" eaLnBrk="1" fontAlgn="auto" latinLnBrk="0" hangingPunct="1">
              <a:lnSpc>
                <a:spcPts val="2160"/>
              </a:lnSpc>
              <a:spcBef>
                <a:spcPts val="0"/>
              </a:spcBef>
              <a:spcAft>
                <a:spcPts val="0"/>
              </a:spcAft>
              <a:buClrTx/>
              <a:buSzTx/>
              <a:buFontTx/>
              <a:buNone/>
              <a:tabLst/>
              <a:defRPr/>
            </a:pPr>
            <a:r>
              <a:rPr kumimoji="0" lang="en-US" sz="1600" b="1" i="0" u="none" strike="noStrike" kern="1200" cap="none" spc="-15" normalizeH="0" baseline="0" noProof="0" dirty="0">
                <a:ln>
                  <a:noFill/>
                </a:ln>
                <a:solidFill>
                  <a:srgbClr val="993399"/>
                </a:solidFill>
                <a:effectLst/>
                <a:uLnTx/>
                <a:uFillTx/>
                <a:latin typeface="Open Sans" panose="020B0606030504020204" pitchFamily="34" charset="0"/>
                <a:ea typeface="Open Sans" panose="020B0606030504020204" pitchFamily="34" charset="0"/>
                <a:cs typeface="Open Sans" panose="020B0606030504020204" pitchFamily="34" charset="0"/>
              </a:rPr>
              <a:t>Third Party Relationships</a:t>
            </a:r>
          </a:p>
        </p:txBody>
      </p:sp>
      <p:grpSp>
        <p:nvGrpSpPr>
          <p:cNvPr id="36" name="Group 35">
            <a:extLst>
              <a:ext uri="{FF2B5EF4-FFF2-40B4-BE49-F238E27FC236}">
                <a16:creationId xmlns:a16="http://schemas.microsoft.com/office/drawing/2014/main" id="{EBCAAB09-F479-F3E9-9E19-E70F477DD223}"/>
              </a:ext>
            </a:extLst>
          </p:cNvPr>
          <p:cNvGrpSpPr/>
          <p:nvPr/>
        </p:nvGrpSpPr>
        <p:grpSpPr>
          <a:xfrm>
            <a:off x="546428" y="2051957"/>
            <a:ext cx="7995641" cy="2589138"/>
            <a:chOff x="287122" y="1998644"/>
            <a:chExt cx="8372274" cy="2711099"/>
          </a:xfrm>
        </p:grpSpPr>
        <p:sp>
          <p:nvSpPr>
            <p:cNvPr id="22" name="Freeform 2">
              <a:extLst>
                <a:ext uri="{FF2B5EF4-FFF2-40B4-BE49-F238E27FC236}">
                  <a16:creationId xmlns:a16="http://schemas.microsoft.com/office/drawing/2014/main" id="{70D8B89C-6A8D-7A49-9C5E-5B655B3C1167}"/>
                </a:ext>
              </a:extLst>
            </p:cNvPr>
            <p:cNvSpPr>
              <a:spLocks noChangeArrowheads="1"/>
            </p:cNvSpPr>
            <p:nvPr/>
          </p:nvSpPr>
          <p:spPr bwMode="auto">
            <a:xfrm>
              <a:off x="287122" y="2907837"/>
              <a:ext cx="2101309" cy="1796413"/>
            </a:xfrm>
            <a:custGeom>
              <a:avLst/>
              <a:gdLst>
                <a:gd name="T0" fmla="*/ 3009 w 3372"/>
                <a:gd name="T1" fmla="*/ 894 h 2885"/>
                <a:gd name="T2" fmla="*/ 3018 w 3372"/>
                <a:gd name="T3" fmla="*/ 832 h 2885"/>
                <a:gd name="T4" fmla="*/ 3020 w 3372"/>
                <a:gd name="T5" fmla="*/ 827 h 2885"/>
                <a:gd name="T6" fmla="*/ 3103 w 3372"/>
                <a:gd name="T7" fmla="*/ 774 h 2885"/>
                <a:gd name="T8" fmla="*/ 3206 w 3372"/>
                <a:gd name="T9" fmla="*/ 761 h 2885"/>
                <a:gd name="T10" fmla="*/ 3284 w 3372"/>
                <a:gd name="T11" fmla="*/ 732 h 2885"/>
                <a:gd name="T12" fmla="*/ 3292 w 3372"/>
                <a:gd name="T13" fmla="*/ 726 h 2885"/>
                <a:gd name="T14" fmla="*/ 3346 w 3372"/>
                <a:gd name="T15" fmla="*/ 671 h 2885"/>
                <a:gd name="T16" fmla="*/ 3349 w 3372"/>
                <a:gd name="T17" fmla="*/ 665 h 2885"/>
                <a:gd name="T18" fmla="*/ 3352 w 3372"/>
                <a:gd name="T19" fmla="*/ 659 h 2885"/>
                <a:gd name="T20" fmla="*/ 3354 w 3372"/>
                <a:gd name="T21" fmla="*/ 655 h 2885"/>
                <a:gd name="T22" fmla="*/ 3355 w 3372"/>
                <a:gd name="T23" fmla="*/ 653 h 2885"/>
                <a:gd name="T24" fmla="*/ 3364 w 3372"/>
                <a:gd name="T25" fmla="*/ 622 h 2885"/>
                <a:gd name="T26" fmla="*/ 3331 w 3372"/>
                <a:gd name="T27" fmla="*/ 477 h 2885"/>
                <a:gd name="T28" fmla="*/ 3211 w 3372"/>
                <a:gd name="T29" fmla="*/ 373 h 2885"/>
                <a:gd name="T30" fmla="*/ 3138 w 3372"/>
                <a:gd name="T31" fmla="*/ 370 h 2885"/>
                <a:gd name="T32" fmla="*/ 3088 w 3372"/>
                <a:gd name="T33" fmla="*/ 390 h 2885"/>
                <a:gd name="T34" fmla="*/ 2960 w 3372"/>
                <a:gd name="T35" fmla="*/ 527 h 2885"/>
                <a:gd name="T36" fmla="*/ 2873 w 3372"/>
                <a:gd name="T37" fmla="*/ 572 h 2885"/>
                <a:gd name="T38" fmla="*/ 2867 w 3372"/>
                <a:gd name="T39" fmla="*/ 571 h 2885"/>
                <a:gd name="T40" fmla="*/ 2818 w 3372"/>
                <a:gd name="T41" fmla="*/ 554 h 2885"/>
                <a:gd name="T42" fmla="*/ 2813 w 3372"/>
                <a:gd name="T43" fmla="*/ 549 h 2885"/>
                <a:gd name="T44" fmla="*/ 2812 w 3372"/>
                <a:gd name="T45" fmla="*/ 546 h 2885"/>
                <a:gd name="T46" fmla="*/ 2805 w 3372"/>
                <a:gd name="T47" fmla="*/ 541 h 2885"/>
                <a:gd name="T48" fmla="*/ 2492 w 3372"/>
                <a:gd name="T49" fmla="*/ 0 h 2885"/>
                <a:gd name="T50" fmla="*/ 521 w 3372"/>
                <a:gd name="T51" fmla="*/ 541 h 2885"/>
                <a:gd name="T52" fmla="*/ 527 w 3372"/>
                <a:gd name="T53" fmla="*/ 581 h 2885"/>
                <a:gd name="T54" fmla="*/ 528 w 3372"/>
                <a:gd name="T55" fmla="*/ 582 h 2885"/>
                <a:gd name="T56" fmla="*/ 529 w 3372"/>
                <a:gd name="T57" fmla="*/ 585 h 2885"/>
                <a:gd name="T58" fmla="*/ 587 w 3372"/>
                <a:gd name="T59" fmla="*/ 622 h 2885"/>
                <a:gd name="T60" fmla="*/ 786 w 3372"/>
                <a:gd name="T61" fmla="*/ 668 h 2885"/>
                <a:gd name="T62" fmla="*/ 836 w 3372"/>
                <a:gd name="T63" fmla="*/ 708 h 2885"/>
                <a:gd name="T64" fmla="*/ 878 w 3372"/>
                <a:gd name="T65" fmla="*/ 787 h 2885"/>
                <a:gd name="T66" fmla="*/ 845 w 3372"/>
                <a:gd name="T67" fmla="*/ 968 h 2885"/>
                <a:gd name="T68" fmla="*/ 719 w 3372"/>
                <a:gd name="T69" fmla="*/ 1084 h 2885"/>
                <a:gd name="T70" fmla="*/ 677 w 3372"/>
                <a:gd name="T71" fmla="*/ 1095 h 2885"/>
                <a:gd name="T72" fmla="*/ 672 w 3372"/>
                <a:gd name="T73" fmla="*/ 1095 h 2885"/>
                <a:gd name="T74" fmla="*/ 671 w 3372"/>
                <a:gd name="T75" fmla="*/ 1095 h 2885"/>
                <a:gd name="T76" fmla="*/ 663 w 3372"/>
                <a:gd name="T77" fmla="*/ 1096 h 2885"/>
                <a:gd name="T78" fmla="*/ 656 w 3372"/>
                <a:gd name="T79" fmla="*/ 1096 h 2885"/>
                <a:gd name="T80" fmla="*/ 565 w 3372"/>
                <a:gd name="T81" fmla="*/ 1073 h 2885"/>
                <a:gd name="T82" fmla="*/ 556 w 3372"/>
                <a:gd name="T83" fmla="*/ 1068 h 2885"/>
                <a:gd name="T84" fmla="*/ 414 w 3372"/>
                <a:gd name="T85" fmla="*/ 922 h 2885"/>
                <a:gd name="T86" fmla="*/ 351 w 3372"/>
                <a:gd name="T87" fmla="*/ 891 h 2885"/>
                <a:gd name="T88" fmla="*/ 309 w 3372"/>
                <a:gd name="T89" fmla="*/ 907 h 2885"/>
                <a:gd name="T90" fmla="*/ 833 w 3372"/>
                <a:gd name="T91" fmla="*/ 2884 h 2885"/>
                <a:gd name="T92" fmla="*/ 3326 w 3372"/>
                <a:gd name="T93" fmla="*/ 1446 h 2885"/>
                <a:gd name="T94" fmla="*/ 3010 w 3372"/>
                <a:gd name="T95" fmla="*/ 899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2" h="2885">
                  <a:moveTo>
                    <a:pt x="3009" y="894"/>
                  </a:moveTo>
                  <a:lnTo>
                    <a:pt x="3009" y="894"/>
                  </a:lnTo>
                  <a:cubicBezTo>
                    <a:pt x="3005" y="873"/>
                    <a:pt x="3008" y="852"/>
                    <a:pt x="3017" y="833"/>
                  </a:cubicBezTo>
                  <a:lnTo>
                    <a:pt x="3018" y="832"/>
                  </a:lnTo>
                  <a:lnTo>
                    <a:pt x="3018" y="832"/>
                  </a:lnTo>
                  <a:cubicBezTo>
                    <a:pt x="3018" y="830"/>
                    <a:pt x="3019" y="828"/>
                    <a:pt x="3020" y="827"/>
                  </a:cubicBezTo>
                  <a:lnTo>
                    <a:pt x="3020" y="827"/>
                  </a:lnTo>
                  <a:cubicBezTo>
                    <a:pt x="3037" y="796"/>
                    <a:pt x="3068" y="776"/>
                    <a:pt x="3103" y="774"/>
                  </a:cubicBezTo>
                  <a:lnTo>
                    <a:pt x="3103" y="774"/>
                  </a:lnTo>
                  <a:cubicBezTo>
                    <a:pt x="3140" y="772"/>
                    <a:pt x="3175" y="768"/>
                    <a:pt x="3206" y="761"/>
                  </a:cubicBezTo>
                  <a:lnTo>
                    <a:pt x="3206" y="761"/>
                  </a:lnTo>
                  <a:cubicBezTo>
                    <a:pt x="3237" y="753"/>
                    <a:pt x="3264" y="743"/>
                    <a:pt x="3284" y="732"/>
                  </a:cubicBezTo>
                  <a:lnTo>
                    <a:pt x="3284" y="732"/>
                  </a:lnTo>
                  <a:cubicBezTo>
                    <a:pt x="3287" y="730"/>
                    <a:pt x="3290" y="728"/>
                    <a:pt x="3292" y="726"/>
                  </a:cubicBezTo>
                  <a:lnTo>
                    <a:pt x="3292" y="726"/>
                  </a:lnTo>
                  <a:cubicBezTo>
                    <a:pt x="3316" y="711"/>
                    <a:pt x="3334" y="693"/>
                    <a:pt x="3346" y="671"/>
                  </a:cubicBezTo>
                  <a:lnTo>
                    <a:pt x="3346" y="671"/>
                  </a:lnTo>
                  <a:cubicBezTo>
                    <a:pt x="3347" y="669"/>
                    <a:pt x="3348" y="668"/>
                    <a:pt x="3349" y="665"/>
                  </a:cubicBezTo>
                  <a:lnTo>
                    <a:pt x="3352" y="659"/>
                  </a:lnTo>
                  <a:lnTo>
                    <a:pt x="3352" y="659"/>
                  </a:lnTo>
                  <a:cubicBezTo>
                    <a:pt x="3353" y="658"/>
                    <a:pt x="3353" y="657"/>
                    <a:pt x="3354" y="655"/>
                  </a:cubicBezTo>
                  <a:lnTo>
                    <a:pt x="3354" y="655"/>
                  </a:lnTo>
                  <a:lnTo>
                    <a:pt x="3355" y="653"/>
                  </a:lnTo>
                  <a:lnTo>
                    <a:pt x="3355" y="653"/>
                  </a:lnTo>
                  <a:cubicBezTo>
                    <a:pt x="3359" y="644"/>
                    <a:pt x="3362" y="633"/>
                    <a:pt x="3364" y="622"/>
                  </a:cubicBezTo>
                  <a:lnTo>
                    <a:pt x="3364" y="622"/>
                  </a:lnTo>
                  <a:cubicBezTo>
                    <a:pt x="3371" y="578"/>
                    <a:pt x="3359" y="526"/>
                    <a:pt x="3331" y="477"/>
                  </a:cubicBezTo>
                  <a:lnTo>
                    <a:pt x="3331" y="477"/>
                  </a:lnTo>
                  <a:cubicBezTo>
                    <a:pt x="3299" y="422"/>
                    <a:pt x="3257" y="386"/>
                    <a:pt x="3211" y="373"/>
                  </a:cubicBezTo>
                  <a:lnTo>
                    <a:pt x="3211" y="373"/>
                  </a:lnTo>
                  <a:cubicBezTo>
                    <a:pt x="3187" y="365"/>
                    <a:pt x="3162" y="365"/>
                    <a:pt x="3138" y="370"/>
                  </a:cubicBezTo>
                  <a:lnTo>
                    <a:pt x="3138" y="370"/>
                  </a:lnTo>
                  <a:cubicBezTo>
                    <a:pt x="3120" y="374"/>
                    <a:pt x="3104" y="381"/>
                    <a:pt x="3088" y="390"/>
                  </a:cubicBezTo>
                  <a:lnTo>
                    <a:pt x="3088" y="390"/>
                  </a:lnTo>
                  <a:cubicBezTo>
                    <a:pt x="3048" y="412"/>
                    <a:pt x="3001" y="464"/>
                    <a:pt x="2960" y="527"/>
                  </a:cubicBezTo>
                  <a:lnTo>
                    <a:pt x="2960" y="527"/>
                  </a:lnTo>
                  <a:cubicBezTo>
                    <a:pt x="2941" y="556"/>
                    <a:pt x="2908" y="573"/>
                    <a:pt x="2873" y="572"/>
                  </a:cubicBezTo>
                  <a:lnTo>
                    <a:pt x="2873" y="572"/>
                  </a:lnTo>
                  <a:cubicBezTo>
                    <a:pt x="2872" y="572"/>
                    <a:pt x="2870" y="572"/>
                    <a:pt x="2868" y="572"/>
                  </a:cubicBezTo>
                  <a:lnTo>
                    <a:pt x="2867" y="571"/>
                  </a:lnTo>
                  <a:lnTo>
                    <a:pt x="2867" y="571"/>
                  </a:lnTo>
                  <a:cubicBezTo>
                    <a:pt x="2849" y="570"/>
                    <a:pt x="2832" y="564"/>
                    <a:pt x="2818" y="554"/>
                  </a:cubicBezTo>
                  <a:lnTo>
                    <a:pt x="2818" y="554"/>
                  </a:lnTo>
                  <a:cubicBezTo>
                    <a:pt x="2816" y="553"/>
                    <a:pt x="2814" y="551"/>
                    <a:pt x="2813" y="549"/>
                  </a:cubicBezTo>
                  <a:lnTo>
                    <a:pt x="2812" y="546"/>
                  </a:lnTo>
                  <a:lnTo>
                    <a:pt x="2812" y="546"/>
                  </a:lnTo>
                  <a:cubicBezTo>
                    <a:pt x="2809" y="544"/>
                    <a:pt x="2807" y="543"/>
                    <a:pt x="2805" y="541"/>
                  </a:cubicBezTo>
                  <a:lnTo>
                    <a:pt x="2805" y="541"/>
                  </a:lnTo>
                  <a:cubicBezTo>
                    <a:pt x="2804" y="540"/>
                    <a:pt x="2803" y="538"/>
                    <a:pt x="2802" y="537"/>
                  </a:cubicBezTo>
                  <a:lnTo>
                    <a:pt x="2492" y="0"/>
                  </a:lnTo>
                  <a:lnTo>
                    <a:pt x="832" y="1"/>
                  </a:lnTo>
                  <a:lnTo>
                    <a:pt x="521" y="541"/>
                  </a:lnTo>
                  <a:lnTo>
                    <a:pt x="521" y="541"/>
                  </a:lnTo>
                  <a:cubicBezTo>
                    <a:pt x="519" y="554"/>
                    <a:pt x="521" y="568"/>
                    <a:pt x="527" y="581"/>
                  </a:cubicBezTo>
                  <a:lnTo>
                    <a:pt x="528" y="582"/>
                  </a:lnTo>
                  <a:lnTo>
                    <a:pt x="528" y="582"/>
                  </a:lnTo>
                  <a:cubicBezTo>
                    <a:pt x="528" y="584"/>
                    <a:pt x="529" y="584"/>
                    <a:pt x="529" y="585"/>
                  </a:cubicBezTo>
                  <a:lnTo>
                    <a:pt x="529" y="585"/>
                  </a:lnTo>
                  <a:cubicBezTo>
                    <a:pt x="541" y="607"/>
                    <a:pt x="562" y="620"/>
                    <a:pt x="587" y="622"/>
                  </a:cubicBezTo>
                  <a:lnTo>
                    <a:pt x="587" y="622"/>
                  </a:lnTo>
                  <a:cubicBezTo>
                    <a:pt x="668" y="626"/>
                    <a:pt x="743" y="644"/>
                    <a:pt x="786" y="668"/>
                  </a:cubicBezTo>
                  <a:lnTo>
                    <a:pt x="786" y="668"/>
                  </a:lnTo>
                  <a:cubicBezTo>
                    <a:pt x="805" y="680"/>
                    <a:pt x="822" y="693"/>
                    <a:pt x="836" y="708"/>
                  </a:cubicBezTo>
                  <a:lnTo>
                    <a:pt x="836" y="708"/>
                  </a:lnTo>
                  <a:cubicBezTo>
                    <a:pt x="857" y="731"/>
                    <a:pt x="871" y="757"/>
                    <a:pt x="878" y="787"/>
                  </a:cubicBezTo>
                  <a:lnTo>
                    <a:pt x="878" y="787"/>
                  </a:lnTo>
                  <a:cubicBezTo>
                    <a:pt x="892" y="843"/>
                    <a:pt x="881" y="906"/>
                    <a:pt x="845" y="968"/>
                  </a:cubicBezTo>
                  <a:lnTo>
                    <a:pt x="845" y="968"/>
                  </a:lnTo>
                  <a:cubicBezTo>
                    <a:pt x="813" y="1024"/>
                    <a:pt x="768" y="1066"/>
                    <a:pt x="719" y="1084"/>
                  </a:cubicBezTo>
                  <a:lnTo>
                    <a:pt x="719" y="1084"/>
                  </a:lnTo>
                  <a:cubicBezTo>
                    <a:pt x="706" y="1089"/>
                    <a:pt x="693" y="1093"/>
                    <a:pt x="680" y="1094"/>
                  </a:cubicBezTo>
                  <a:lnTo>
                    <a:pt x="677" y="1095"/>
                  </a:lnTo>
                  <a:lnTo>
                    <a:pt x="677" y="1095"/>
                  </a:lnTo>
                  <a:cubicBezTo>
                    <a:pt x="676" y="1095"/>
                    <a:pt x="674" y="1095"/>
                    <a:pt x="672" y="1095"/>
                  </a:cubicBezTo>
                  <a:lnTo>
                    <a:pt x="671" y="1095"/>
                  </a:lnTo>
                  <a:lnTo>
                    <a:pt x="671" y="1095"/>
                  </a:lnTo>
                  <a:cubicBezTo>
                    <a:pt x="669" y="1095"/>
                    <a:pt x="668" y="1095"/>
                    <a:pt x="667" y="1095"/>
                  </a:cubicBezTo>
                  <a:lnTo>
                    <a:pt x="663" y="1096"/>
                  </a:lnTo>
                  <a:lnTo>
                    <a:pt x="663" y="1096"/>
                  </a:lnTo>
                  <a:cubicBezTo>
                    <a:pt x="661" y="1096"/>
                    <a:pt x="658" y="1096"/>
                    <a:pt x="656" y="1096"/>
                  </a:cubicBezTo>
                  <a:lnTo>
                    <a:pt x="656" y="1096"/>
                  </a:lnTo>
                  <a:cubicBezTo>
                    <a:pt x="625" y="1096"/>
                    <a:pt x="595" y="1089"/>
                    <a:pt x="565" y="1073"/>
                  </a:cubicBezTo>
                  <a:lnTo>
                    <a:pt x="565" y="1073"/>
                  </a:lnTo>
                  <a:cubicBezTo>
                    <a:pt x="562" y="1072"/>
                    <a:pt x="559" y="1071"/>
                    <a:pt x="556" y="1068"/>
                  </a:cubicBezTo>
                  <a:lnTo>
                    <a:pt x="556" y="1068"/>
                  </a:lnTo>
                  <a:cubicBezTo>
                    <a:pt x="512" y="1043"/>
                    <a:pt x="458" y="989"/>
                    <a:pt x="414" y="922"/>
                  </a:cubicBezTo>
                  <a:lnTo>
                    <a:pt x="414" y="922"/>
                  </a:lnTo>
                  <a:cubicBezTo>
                    <a:pt x="400" y="902"/>
                    <a:pt x="376" y="890"/>
                    <a:pt x="351" y="891"/>
                  </a:cubicBezTo>
                  <a:lnTo>
                    <a:pt x="351" y="891"/>
                  </a:lnTo>
                  <a:cubicBezTo>
                    <a:pt x="336" y="891"/>
                    <a:pt x="321" y="897"/>
                    <a:pt x="309" y="907"/>
                  </a:cubicBezTo>
                  <a:lnTo>
                    <a:pt x="0" y="1443"/>
                  </a:lnTo>
                  <a:lnTo>
                    <a:pt x="833" y="2884"/>
                  </a:lnTo>
                  <a:lnTo>
                    <a:pt x="2497" y="2883"/>
                  </a:lnTo>
                  <a:lnTo>
                    <a:pt x="3326" y="1446"/>
                  </a:lnTo>
                  <a:lnTo>
                    <a:pt x="3010" y="899"/>
                  </a:lnTo>
                  <a:lnTo>
                    <a:pt x="3010" y="899"/>
                  </a:lnTo>
                  <a:cubicBezTo>
                    <a:pt x="3010" y="898"/>
                    <a:pt x="3009" y="895"/>
                    <a:pt x="3009" y="894"/>
                  </a:cubicBezTo>
                </a:path>
              </a:pathLst>
            </a:custGeom>
            <a:solidFill>
              <a:schemeClr val="accent1"/>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3" name="Freeform 3">
              <a:extLst>
                <a:ext uri="{FF2B5EF4-FFF2-40B4-BE49-F238E27FC236}">
                  <a16:creationId xmlns:a16="http://schemas.microsoft.com/office/drawing/2014/main" id="{0239DBE7-1466-F040-9A10-D112669D9F0F}"/>
                </a:ext>
              </a:extLst>
            </p:cNvPr>
            <p:cNvSpPr>
              <a:spLocks noChangeArrowheads="1"/>
            </p:cNvSpPr>
            <p:nvPr/>
          </p:nvSpPr>
          <p:spPr bwMode="auto">
            <a:xfrm>
              <a:off x="3426723" y="2907837"/>
              <a:ext cx="2098563" cy="1796413"/>
            </a:xfrm>
            <a:custGeom>
              <a:avLst/>
              <a:gdLst>
                <a:gd name="T0" fmla="*/ 520 w 3368"/>
                <a:gd name="T1" fmla="*/ 547 h 2885"/>
                <a:gd name="T2" fmla="*/ 527 w 3368"/>
                <a:gd name="T3" fmla="*/ 582 h 2885"/>
                <a:gd name="T4" fmla="*/ 585 w 3368"/>
                <a:gd name="T5" fmla="*/ 620 h 2885"/>
                <a:gd name="T6" fmla="*/ 698 w 3368"/>
                <a:gd name="T7" fmla="*/ 637 h 2885"/>
                <a:gd name="T8" fmla="*/ 783 w 3368"/>
                <a:gd name="T9" fmla="*/ 668 h 2885"/>
                <a:gd name="T10" fmla="*/ 833 w 3368"/>
                <a:gd name="T11" fmla="*/ 708 h 2885"/>
                <a:gd name="T12" fmla="*/ 876 w 3368"/>
                <a:gd name="T13" fmla="*/ 787 h 2885"/>
                <a:gd name="T14" fmla="*/ 842 w 3368"/>
                <a:gd name="T15" fmla="*/ 968 h 2885"/>
                <a:gd name="T16" fmla="*/ 716 w 3368"/>
                <a:gd name="T17" fmla="*/ 1084 h 2885"/>
                <a:gd name="T18" fmla="*/ 674 w 3368"/>
                <a:gd name="T19" fmla="*/ 1095 h 2885"/>
                <a:gd name="T20" fmla="*/ 669 w 3368"/>
                <a:gd name="T21" fmla="*/ 1095 h 2885"/>
                <a:gd name="T22" fmla="*/ 668 w 3368"/>
                <a:gd name="T23" fmla="*/ 1095 h 2885"/>
                <a:gd name="T24" fmla="*/ 660 w 3368"/>
                <a:gd name="T25" fmla="*/ 1096 h 2885"/>
                <a:gd name="T26" fmla="*/ 653 w 3368"/>
                <a:gd name="T27" fmla="*/ 1096 h 2885"/>
                <a:gd name="T28" fmla="*/ 562 w 3368"/>
                <a:gd name="T29" fmla="*/ 1073 h 2885"/>
                <a:gd name="T30" fmla="*/ 553 w 3368"/>
                <a:gd name="T31" fmla="*/ 1068 h 2885"/>
                <a:gd name="T32" fmla="*/ 411 w 3368"/>
                <a:gd name="T33" fmla="*/ 922 h 2885"/>
                <a:gd name="T34" fmla="*/ 348 w 3368"/>
                <a:gd name="T35" fmla="*/ 891 h 2885"/>
                <a:gd name="T36" fmla="*/ 315 w 3368"/>
                <a:gd name="T37" fmla="*/ 901 h 2885"/>
                <a:gd name="T38" fmla="*/ 830 w 3368"/>
                <a:gd name="T39" fmla="*/ 2884 h 2885"/>
                <a:gd name="T40" fmla="*/ 3321 w 3368"/>
                <a:gd name="T41" fmla="*/ 1448 h 2885"/>
                <a:gd name="T42" fmla="*/ 3006 w 3368"/>
                <a:gd name="T43" fmla="*/ 904 h 2885"/>
                <a:gd name="T44" fmla="*/ 3005 w 3368"/>
                <a:gd name="T45" fmla="*/ 899 h 2885"/>
                <a:gd name="T46" fmla="*/ 3014 w 3368"/>
                <a:gd name="T47" fmla="*/ 837 h 2885"/>
                <a:gd name="T48" fmla="*/ 3015 w 3368"/>
                <a:gd name="T49" fmla="*/ 833 h 2885"/>
                <a:gd name="T50" fmla="*/ 3017 w 3368"/>
                <a:gd name="T51" fmla="*/ 830 h 2885"/>
                <a:gd name="T52" fmla="*/ 3099 w 3368"/>
                <a:gd name="T53" fmla="*/ 776 h 2885"/>
                <a:gd name="T54" fmla="*/ 3280 w 3368"/>
                <a:gd name="T55" fmla="*/ 732 h 2885"/>
                <a:gd name="T56" fmla="*/ 3288 w 3368"/>
                <a:gd name="T57" fmla="*/ 726 h 2885"/>
                <a:gd name="T58" fmla="*/ 3342 w 3368"/>
                <a:gd name="T59" fmla="*/ 671 h 2885"/>
                <a:gd name="T60" fmla="*/ 3345 w 3368"/>
                <a:gd name="T61" fmla="*/ 665 h 2885"/>
                <a:gd name="T62" fmla="*/ 3346 w 3368"/>
                <a:gd name="T63" fmla="*/ 664 h 2885"/>
                <a:gd name="T64" fmla="*/ 3348 w 3368"/>
                <a:gd name="T65" fmla="*/ 659 h 2885"/>
                <a:gd name="T66" fmla="*/ 3350 w 3368"/>
                <a:gd name="T67" fmla="*/ 655 h 2885"/>
                <a:gd name="T68" fmla="*/ 3351 w 3368"/>
                <a:gd name="T69" fmla="*/ 653 h 2885"/>
                <a:gd name="T70" fmla="*/ 3360 w 3368"/>
                <a:gd name="T71" fmla="*/ 622 h 2885"/>
                <a:gd name="T72" fmla="*/ 3327 w 3368"/>
                <a:gd name="T73" fmla="*/ 477 h 2885"/>
                <a:gd name="T74" fmla="*/ 3207 w 3368"/>
                <a:gd name="T75" fmla="*/ 373 h 2885"/>
                <a:gd name="T76" fmla="*/ 3134 w 3368"/>
                <a:gd name="T77" fmla="*/ 370 h 2885"/>
                <a:gd name="T78" fmla="*/ 3133 w 3368"/>
                <a:gd name="T79" fmla="*/ 370 h 2885"/>
                <a:gd name="T80" fmla="*/ 3126 w 3368"/>
                <a:gd name="T81" fmla="*/ 372 h 2885"/>
                <a:gd name="T82" fmla="*/ 3093 w 3368"/>
                <a:gd name="T83" fmla="*/ 385 h 2885"/>
                <a:gd name="T84" fmla="*/ 3085 w 3368"/>
                <a:gd name="T85" fmla="*/ 390 h 2885"/>
                <a:gd name="T86" fmla="*/ 3041 w 3368"/>
                <a:gd name="T87" fmla="*/ 422 h 2885"/>
                <a:gd name="T88" fmla="*/ 2956 w 3368"/>
                <a:gd name="T89" fmla="*/ 527 h 2885"/>
                <a:gd name="T90" fmla="*/ 2869 w 3368"/>
                <a:gd name="T91" fmla="*/ 572 h 2885"/>
                <a:gd name="T92" fmla="*/ 2863 w 3368"/>
                <a:gd name="T93" fmla="*/ 571 h 2885"/>
                <a:gd name="T94" fmla="*/ 2849 w 3368"/>
                <a:gd name="T95" fmla="*/ 570 h 2885"/>
                <a:gd name="T96" fmla="*/ 2801 w 3368"/>
                <a:gd name="T97" fmla="*/ 546 h 2885"/>
                <a:gd name="T98" fmla="*/ 2798 w 3368"/>
                <a:gd name="T99" fmla="*/ 542 h 2885"/>
                <a:gd name="T100" fmla="*/ 835 w 3368"/>
                <a:gd name="T101" fmla="*/ 1 h 2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68" h="2885">
                  <a:moveTo>
                    <a:pt x="520" y="547"/>
                  </a:moveTo>
                  <a:lnTo>
                    <a:pt x="520" y="547"/>
                  </a:lnTo>
                  <a:cubicBezTo>
                    <a:pt x="519" y="559"/>
                    <a:pt x="522" y="571"/>
                    <a:pt x="527" y="582"/>
                  </a:cubicBezTo>
                  <a:lnTo>
                    <a:pt x="527" y="582"/>
                  </a:lnTo>
                  <a:cubicBezTo>
                    <a:pt x="539" y="604"/>
                    <a:pt x="560" y="618"/>
                    <a:pt x="585" y="620"/>
                  </a:cubicBezTo>
                  <a:lnTo>
                    <a:pt x="585" y="620"/>
                  </a:lnTo>
                  <a:cubicBezTo>
                    <a:pt x="625" y="622"/>
                    <a:pt x="664" y="629"/>
                    <a:pt x="698" y="637"/>
                  </a:cubicBezTo>
                  <a:lnTo>
                    <a:pt x="698" y="637"/>
                  </a:lnTo>
                  <a:cubicBezTo>
                    <a:pt x="732" y="645"/>
                    <a:pt x="761" y="656"/>
                    <a:pt x="783" y="668"/>
                  </a:cubicBezTo>
                  <a:lnTo>
                    <a:pt x="783" y="668"/>
                  </a:lnTo>
                  <a:cubicBezTo>
                    <a:pt x="802" y="680"/>
                    <a:pt x="819" y="693"/>
                    <a:pt x="833" y="708"/>
                  </a:cubicBezTo>
                  <a:lnTo>
                    <a:pt x="833" y="708"/>
                  </a:lnTo>
                  <a:cubicBezTo>
                    <a:pt x="854" y="731"/>
                    <a:pt x="868" y="757"/>
                    <a:pt x="876" y="787"/>
                  </a:cubicBezTo>
                  <a:lnTo>
                    <a:pt x="876" y="787"/>
                  </a:lnTo>
                  <a:cubicBezTo>
                    <a:pt x="890" y="843"/>
                    <a:pt x="878" y="906"/>
                    <a:pt x="842" y="968"/>
                  </a:cubicBezTo>
                  <a:lnTo>
                    <a:pt x="842" y="968"/>
                  </a:lnTo>
                  <a:cubicBezTo>
                    <a:pt x="809" y="1024"/>
                    <a:pt x="765" y="1066"/>
                    <a:pt x="716" y="1084"/>
                  </a:cubicBezTo>
                  <a:lnTo>
                    <a:pt x="716" y="1084"/>
                  </a:lnTo>
                  <a:cubicBezTo>
                    <a:pt x="703" y="1089"/>
                    <a:pt x="690" y="1093"/>
                    <a:pt x="677" y="1094"/>
                  </a:cubicBezTo>
                  <a:lnTo>
                    <a:pt x="674" y="1095"/>
                  </a:lnTo>
                  <a:lnTo>
                    <a:pt x="674" y="1095"/>
                  </a:lnTo>
                  <a:cubicBezTo>
                    <a:pt x="673" y="1095"/>
                    <a:pt x="671" y="1095"/>
                    <a:pt x="669" y="1095"/>
                  </a:cubicBezTo>
                  <a:lnTo>
                    <a:pt x="668" y="1095"/>
                  </a:lnTo>
                  <a:lnTo>
                    <a:pt x="668" y="1095"/>
                  </a:lnTo>
                  <a:cubicBezTo>
                    <a:pt x="666" y="1095"/>
                    <a:pt x="665" y="1095"/>
                    <a:pt x="663" y="1095"/>
                  </a:cubicBezTo>
                  <a:lnTo>
                    <a:pt x="660" y="1096"/>
                  </a:lnTo>
                  <a:lnTo>
                    <a:pt x="660" y="1096"/>
                  </a:lnTo>
                  <a:cubicBezTo>
                    <a:pt x="658" y="1096"/>
                    <a:pt x="655" y="1096"/>
                    <a:pt x="653" y="1096"/>
                  </a:cubicBezTo>
                  <a:lnTo>
                    <a:pt x="653" y="1096"/>
                  </a:lnTo>
                  <a:cubicBezTo>
                    <a:pt x="622" y="1096"/>
                    <a:pt x="592" y="1089"/>
                    <a:pt x="562" y="1073"/>
                  </a:cubicBezTo>
                  <a:lnTo>
                    <a:pt x="562" y="1073"/>
                  </a:lnTo>
                  <a:cubicBezTo>
                    <a:pt x="559" y="1072"/>
                    <a:pt x="556" y="1071"/>
                    <a:pt x="553" y="1068"/>
                  </a:cubicBezTo>
                  <a:lnTo>
                    <a:pt x="553" y="1068"/>
                  </a:lnTo>
                  <a:cubicBezTo>
                    <a:pt x="509" y="1043"/>
                    <a:pt x="455" y="989"/>
                    <a:pt x="411" y="922"/>
                  </a:cubicBezTo>
                  <a:lnTo>
                    <a:pt x="411" y="922"/>
                  </a:lnTo>
                  <a:cubicBezTo>
                    <a:pt x="397" y="902"/>
                    <a:pt x="373" y="890"/>
                    <a:pt x="348" y="891"/>
                  </a:cubicBezTo>
                  <a:lnTo>
                    <a:pt x="348" y="891"/>
                  </a:lnTo>
                  <a:cubicBezTo>
                    <a:pt x="336" y="891"/>
                    <a:pt x="325" y="895"/>
                    <a:pt x="315" y="901"/>
                  </a:cubicBezTo>
                  <a:lnTo>
                    <a:pt x="0" y="1446"/>
                  </a:lnTo>
                  <a:lnTo>
                    <a:pt x="830" y="2884"/>
                  </a:lnTo>
                  <a:lnTo>
                    <a:pt x="2493" y="2883"/>
                  </a:lnTo>
                  <a:lnTo>
                    <a:pt x="3321" y="1448"/>
                  </a:lnTo>
                  <a:lnTo>
                    <a:pt x="3006" y="904"/>
                  </a:lnTo>
                  <a:lnTo>
                    <a:pt x="3006" y="904"/>
                  </a:lnTo>
                  <a:cubicBezTo>
                    <a:pt x="3006" y="902"/>
                    <a:pt x="3005" y="900"/>
                    <a:pt x="3005" y="899"/>
                  </a:cubicBezTo>
                  <a:lnTo>
                    <a:pt x="3005" y="899"/>
                  </a:lnTo>
                  <a:cubicBezTo>
                    <a:pt x="3002" y="878"/>
                    <a:pt x="3004" y="857"/>
                    <a:pt x="3013" y="838"/>
                  </a:cubicBezTo>
                  <a:lnTo>
                    <a:pt x="3014" y="837"/>
                  </a:lnTo>
                  <a:lnTo>
                    <a:pt x="3014" y="837"/>
                  </a:lnTo>
                  <a:cubicBezTo>
                    <a:pt x="3014" y="836"/>
                    <a:pt x="3015" y="835"/>
                    <a:pt x="3015" y="833"/>
                  </a:cubicBezTo>
                  <a:lnTo>
                    <a:pt x="3015" y="833"/>
                  </a:lnTo>
                  <a:cubicBezTo>
                    <a:pt x="3016" y="832"/>
                    <a:pt x="3016" y="831"/>
                    <a:pt x="3017" y="830"/>
                  </a:cubicBezTo>
                  <a:lnTo>
                    <a:pt x="3017" y="830"/>
                  </a:lnTo>
                  <a:cubicBezTo>
                    <a:pt x="3033" y="799"/>
                    <a:pt x="3064" y="779"/>
                    <a:pt x="3099" y="776"/>
                  </a:cubicBezTo>
                  <a:lnTo>
                    <a:pt x="3099" y="776"/>
                  </a:lnTo>
                  <a:cubicBezTo>
                    <a:pt x="3173" y="772"/>
                    <a:pt x="3241" y="754"/>
                    <a:pt x="3280" y="732"/>
                  </a:cubicBezTo>
                  <a:lnTo>
                    <a:pt x="3280" y="732"/>
                  </a:lnTo>
                  <a:cubicBezTo>
                    <a:pt x="3283" y="730"/>
                    <a:pt x="3286" y="728"/>
                    <a:pt x="3288" y="726"/>
                  </a:cubicBezTo>
                  <a:lnTo>
                    <a:pt x="3288" y="726"/>
                  </a:lnTo>
                  <a:cubicBezTo>
                    <a:pt x="3312" y="711"/>
                    <a:pt x="3330" y="693"/>
                    <a:pt x="3342" y="671"/>
                  </a:cubicBezTo>
                  <a:lnTo>
                    <a:pt x="3342" y="671"/>
                  </a:lnTo>
                  <a:cubicBezTo>
                    <a:pt x="3343" y="669"/>
                    <a:pt x="3345" y="668"/>
                    <a:pt x="3345" y="665"/>
                  </a:cubicBezTo>
                  <a:lnTo>
                    <a:pt x="3345" y="665"/>
                  </a:lnTo>
                  <a:cubicBezTo>
                    <a:pt x="3345" y="665"/>
                    <a:pt x="3346" y="665"/>
                    <a:pt x="3346" y="664"/>
                  </a:cubicBezTo>
                  <a:lnTo>
                    <a:pt x="3348" y="659"/>
                  </a:lnTo>
                  <a:lnTo>
                    <a:pt x="3348" y="659"/>
                  </a:lnTo>
                  <a:cubicBezTo>
                    <a:pt x="3349" y="658"/>
                    <a:pt x="3349" y="657"/>
                    <a:pt x="3350" y="655"/>
                  </a:cubicBezTo>
                  <a:lnTo>
                    <a:pt x="3350" y="655"/>
                  </a:lnTo>
                  <a:lnTo>
                    <a:pt x="3351" y="653"/>
                  </a:lnTo>
                  <a:lnTo>
                    <a:pt x="3351" y="653"/>
                  </a:lnTo>
                  <a:cubicBezTo>
                    <a:pt x="3355" y="643"/>
                    <a:pt x="3358" y="633"/>
                    <a:pt x="3360" y="622"/>
                  </a:cubicBezTo>
                  <a:lnTo>
                    <a:pt x="3360" y="622"/>
                  </a:lnTo>
                  <a:cubicBezTo>
                    <a:pt x="3367" y="578"/>
                    <a:pt x="3355" y="526"/>
                    <a:pt x="3327" y="477"/>
                  </a:cubicBezTo>
                  <a:lnTo>
                    <a:pt x="3327" y="477"/>
                  </a:lnTo>
                  <a:cubicBezTo>
                    <a:pt x="3295" y="422"/>
                    <a:pt x="3253" y="386"/>
                    <a:pt x="3207" y="373"/>
                  </a:cubicBezTo>
                  <a:lnTo>
                    <a:pt x="3207" y="373"/>
                  </a:lnTo>
                  <a:cubicBezTo>
                    <a:pt x="3183" y="365"/>
                    <a:pt x="3159" y="365"/>
                    <a:pt x="3134" y="370"/>
                  </a:cubicBezTo>
                  <a:lnTo>
                    <a:pt x="3134" y="370"/>
                  </a:lnTo>
                  <a:cubicBezTo>
                    <a:pt x="3134" y="370"/>
                    <a:pt x="3134" y="370"/>
                    <a:pt x="3133" y="370"/>
                  </a:cubicBezTo>
                  <a:lnTo>
                    <a:pt x="3133" y="370"/>
                  </a:lnTo>
                  <a:cubicBezTo>
                    <a:pt x="3131" y="371"/>
                    <a:pt x="3128" y="371"/>
                    <a:pt x="3126" y="372"/>
                  </a:cubicBezTo>
                  <a:lnTo>
                    <a:pt x="3126" y="372"/>
                  </a:lnTo>
                  <a:cubicBezTo>
                    <a:pt x="3115" y="376"/>
                    <a:pt x="3104" y="380"/>
                    <a:pt x="3093" y="385"/>
                  </a:cubicBezTo>
                  <a:lnTo>
                    <a:pt x="3093" y="385"/>
                  </a:lnTo>
                  <a:cubicBezTo>
                    <a:pt x="3090" y="387"/>
                    <a:pt x="3088" y="388"/>
                    <a:pt x="3085" y="390"/>
                  </a:cubicBezTo>
                  <a:lnTo>
                    <a:pt x="3085" y="390"/>
                  </a:lnTo>
                  <a:cubicBezTo>
                    <a:pt x="3071" y="398"/>
                    <a:pt x="3057" y="409"/>
                    <a:pt x="3041" y="422"/>
                  </a:cubicBezTo>
                  <a:lnTo>
                    <a:pt x="3041" y="422"/>
                  </a:lnTo>
                  <a:cubicBezTo>
                    <a:pt x="3013" y="449"/>
                    <a:pt x="2983" y="485"/>
                    <a:pt x="2956" y="527"/>
                  </a:cubicBezTo>
                  <a:lnTo>
                    <a:pt x="2956" y="527"/>
                  </a:lnTo>
                  <a:cubicBezTo>
                    <a:pt x="2937" y="556"/>
                    <a:pt x="2904" y="573"/>
                    <a:pt x="2869" y="572"/>
                  </a:cubicBezTo>
                  <a:lnTo>
                    <a:pt x="2869" y="572"/>
                  </a:lnTo>
                  <a:cubicBezTo>
                    <a:pt x="2868" y="572"/>
                    <a:pt x="2866" y="572"/>
                    <a:pt x="2864" y="572"/>
                  </a:cubicBezTo>
                  <a:lnTo>
                    <a:pt x="2863" y="571"/>
                  </a:lnTo>
                  <a:lnTo>
                    <a:pt x="2863" y="571"/>
                  </a:lnTo>
                  <a:cubicBezTo>
                    <a:pt x="2858" y="571"/>
                    <a:pt x="2854" y="570"/>
                    <a:pt x="2849" y="570"/>
                  </a:cubicBezTo>
                  <a:lnTo>
                    <a:pt x="2849" y="570"/>
                  </a:lnTo>
                  <a:cubicBezTo>
                    <a:pt x="2831" y="566"/>
                    <a:pt x="2814" y="558"/>
                    <a:pt x="2801" y="546"/>
                  </a:cubicBezTo>
                  <a:lnTo>
                    <a:pt x="2801" y="546"/>
                  </a:lnTo>
                  <a:cubicBezTo>
                    <a:pt x="2800" y="545"/>
                    <a:pt x="2799" y="543"/>
                    <a:pt x="2798" y="542"/>
                  </a:cubicBezTo>
                  <a:lnTo>
                    <a:pt x="2485" y="0"/>
                  </a:lnTo>
                  <a:lnTo>
                    <a:pt x="835" y="1"/>
                  </a:lnTo>
                  <a:lnTo>
                    <a:pt x="520" y="547"/>
                  </a:lnTo>
                </a:path>
              </a:pathLst>
            </a:custGeom>
            <a:solidFill>
              <a:schemeClr val="accent3"/>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4" name="Freeform 4">
              <a:extLst>
                <a:ext uri="{FF2B5EF4-FFF2-40B4-BE49-F238E27FC236}">
                  <a16:creationId xmlns:a16="http://schemas.microsoft.com/office/drawing/2014/main" id="{D65270F4-808F-D340-B26F-2D81C2E1242F}"/>
                </a:ext>
              </a:extLst>
            </p:cNvPr>
            <p:cNvSpPr>
              <a:spLocks noChangeArrowheads="1"/>
            </p:cNvSpPr>
            <p:nvPr/>
          </p:nvSpPr>
          <p:spPr bwMode="auto">
            <a:xfrm>
              <a:off x="1858296" y="1998644"/>
              <a:ext cx="2098563" cy="1796413"/>
            </a:xfrm>
            <a:custGeom>
              <a:avLst/>
              <a:gdLst>
                <a:gd name="T0" fmla="*/ 2815 w 3370"/>
                <a:gd name="T1" fmla="*/ 2329 h 2883"/>
                <a:gd name="T2" fmla="*/ 2866 w 3370"/>
                <a:gd name="T3" fmla="*/ 2310 h 2883"/>
                <a:gd name="T4" fmla="*/ 2871 w 3370"/>
                <a:gd name="T5" fmla="*/ 2310 h 2883"/>
                <a:gd name="T6" fmla="*/ 2957 w 3370"/>
                <a:gd name="T7" fmla="*/ 2356 h 2883"/>
                <a:gd name="T8" fmla="*/ 3085 w 3370"/>
                <a:gd name="T9" fmla="*/ 2492 h 2883"/>
                <a:gd name="T10" fmla="*/ 3135 w 3370"/>
                <a:gd name="T11" fmla="*/ 2512 h 2883"/>
                <a:gd name="T12" fmla="*/ 3209 w 3370"/>
                <a:gd name="T13" fmla="*/ 2510 h 2883"/>
                <a:gd name="T14" fmla="*/ 3329 w 3370"/>
                <a:gd name="T15" fmla="*/ 2405 h 2883"/>
                <a:gd name="T16" fmla="*/ 3362 w 3370"/>
                <a:gd name="T17" fmla="*/ 2261 h 2883"/>
                <a:gd name="T18" fmla="*/ 3353 w 3370"/>
                <a:gd name="T19" fmla="*/ 2229 h 2883"/>
                <a:gd name="T20" fmla="*/ 3352 w 3370"/>
                <a:gd name="T21" fmla="*/ 2228 h 2883"/>
                <a:gd name="T22" fmla="*/ 3351 w 3370"/>
                <a:gd name="T23" fmla="*/ 2224 h 2883"/>
                <a:gd name="T24" fmla="*/ 3349 w 3370"/>
                <a:gd name="T25" fmla="*/ 2222 h 2883"/>
                <a:gd name="T26" fmla="*/ 3348 w 3370"/>
                <a:gd name="T27" fmla="*/ 2218 h 2883"/>
                <a:gd name="T28" fmla="*/ 3347 w 3370"/>
                <a:gd name="T29" fmla="*/ 2217 h 2883"/>
                <a:gd name="T30" fmla="*/ 3345 w 3370"/>
                <a:gd name="T31" fmla="*/ 2211 h 2883"/>
                <a:gd name="T32" fmla="*/ 3290 w 3370"/>
                <a:gd name="T33" fmla="*/ 2156 h 2883"/>
                <a:gd name="T34" fmla="*/ 3282 w 3370"/>
                <a:gd name="T35" fmla="*/ 2151 h 2883"/>
                <a:gd name="T36" fmla="*/ 3208 w 3370"/>
                <a:gd name="T37" fmla="*/ 2123 h 2883"/>
                <a:gd name="T38" fmla="*/ 3101 w 3370"/>
                <a:gd name="T39" fmla="*/ 2108 h 2883"/>
                <a:gd name="T40" fmla="*/ 3017 w 3370"/>
                <a:gd name="T41" fmla="*/ 2056 h 2883"/>
                <a:gd name="T42" fmla="*/ 3014 w 3370"/>
                <a:gd name="T43" fmla="*/ 2051 h 2883"/>
                <a:gd name="T44" fmla="*/ 3014 w 3370"/>
                <a:gd name="T45" fmla="*/ 2050 h 2883"/>
                <a:gd name="T46" fmla="*/ 3006 w 3370"/>
                <a:gd name="T47" fmla="*/ 1989 h 2883"/>
                <a:gd name="T48" fmla="*/ 3324 w 3370"/>
                <a:gd name="T49" fmla="*/ 1436 h 2883"/>
                <a:gd name="T50" fmla="*/ 831 w 3370"/>
                <a:gd name="T51" fmla="*/ 0 h 2883"/>
                <a:gd name="T52" fmla="*/ 314 w 3370"/>
                <a:gd name="T53" fmla="*/ 1980 h 2883"/>
                <a:gd name="T54" fmla="*/ 349 w 3370"/>
                <a:gd name="T55" fmla="*/ 1991 h 2883"/>
                <a:gd name="T56" fmla="*/ 412 w 3370"/>
                <a:gd name="T57" fmla="*/ 1959 h 2883"/>
                <a:gd name="T58" fmla="*/ 553 w 3370"/>
                <a:gd name="T59" fmla="*/ 1814 h 2883"/>
                <a:gd name="T60" fmla="*/ 563 w 3370"/>
                <a:gd name="T61" fmla="*/ 1809 h 2883"/>
                <a:gd name="T62" fmla="*/ 653 w 3370"/>
                <a:gd name="T63" fmla="*/ 1786 h 2883"/>
                <a:gd name="T64" fmla="*/ 653 w 3370"/>
                <a:gd name="T65" fmla="*/ 1786 h 2883"/>
                <a:gd name="T66" fmla="*/ 665 w 3370"/>
                <a:gd name="T67" fmla="*/ 1786 h 2883"/>
                <a:gd name="T68" fmla="*/ 668 w 3370"/>
                <a:gd name="T69" fmla="*/ 1787 h 2883"/>
                <a:gd name="T70" fmla="*/ 670 w 3370"/>
                <a:gd name="T71" fmla="*/ 1787 h 2883"/>
                <a:gd name="T72" fmla="*/ 678 w 3370"/>
                <a:gd name="T73" fmla="*/ 1788 h 2883"/>
                <a:gd name="T74" fmla="*/ 717 w 3370"/>
                <a:gd name="T75" fmla="*/ 1798 h 2883"/>
                <a:gd name="T76" fmla="*/ 843 w 3370"/>
                <a:gd name="T77" fmla="*/ 1914 h 2883"/>
                <a:gd name="T78" fmla="*/ 877 w 3370"/>
                <a:gd name="T79" fmla="*/ 2095 h 2883"/>
                <a:gd name="T80" fmla="*/ 834 w 3370"/>
                <a:gd name="T81" fmla="*/ 2174 h 2883"/>
                <a:gd name="T82" fmla="*/ 783 w 3370"/>
                <a:gd name="T83" fmla="*/ 2214 h 2883"/>
                <a:gd name="T84" fmla="*/ 693 w 3370"/>
                <a:gd name="T85" fmla="*/ 2246 h 2883"/>
                <a:gd name="T86" fmla="*/ 585 w 3370"/>
                <a:gd name="T87" fmla="*/ 2263 h 2883"/>
                <a:gd name="T88" fmla="*/ 528 w 3370"/>
                <a:gd name="T89" fmla="*/ 2300 h 2883"/>
                <a:gd name="T90" fmla="*/ 520 w 3370"/>
                <a:gd name="T91" fmla="*/ 2336 h 2883"/>
                <a:gd name="T92" fmla="*/ 2490 w 3370"/>
                <a:gd name="T93" fmla="*/ 2882 h 2883"/>
                <a:gd name="T94" fmla="*/ 2799 w 3370"/>
                <a:gd name="T95" fmla="*/ 2345 h 2883"/>
                <a:gd name="T96" fmla="*/ 2802 w 3370"/>
                <a:gd name="T97" fmla="*/ 2342 h 2883"/>
                <a:gd name="T98" fmla="*/ 2811 w 3370"/>
                <a:gd name="T99" fmla="*/ 2334 h 2883"/>
                <a:gd name="T100" fmla="*/ 2815 w 3370"/>
                <a:gd name="T101" fmla="*/ 2329 h 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0" h="2883">
                  <a:moveTo>
                    <a:pt x="2815" y="2329"/>
                  </a:moveTo>
                  <a:lnTo>
                    <a:pt x="2815" y="2329"/>
                  </a:lnTo>
                  <a:cubicBezTo>
                    <a:pt x="2830" y="2319"/>
                    <a:pt x="2847" y="2312"/>
                    <a:pt x="2865" y="2310"/>
                  </a:cubicBezTo>
                  <a:lnTo>
                    <a:pt x="2866" y="2310"/>
                  </a:lnTo>
                  <a:lnTo>
                    <a:pt x="2866" y="2310"/>
                  </a:lnTo>
                  <a:cubicBezTo>
                    <a:pt x="2867" y="2310"/>
                    <a:pt x="2870" y="2310"/>
                    <a:pt x="2871" y="2310"/>
                  </a:cubicBezTo>
                  <a:lnTo>
                    <a:pt x="2871" y="2310"/>
                  </a:lnTo>
                  <a:cubicBezTo>
                    <a:pt x="2906" y="2309"/>
                    <a:pt x="2939" y="2326"/>
                    <a:pt x="2957" y="2356"/>
                  </a:cubicBezTo>
                  <a:lnTo>
                    <a:pt x="2957" y="2356"/>
                  </a:lnTo>
                  <a:cubicBezTo>
                    <a:pt x="2999" y="2419"/>
                    <a:pt x="3047" y="2470"/>
                    <a:pt x="3085" y="2492"/>
                  </a:cubicBezTo>
                  <a:lnTo>
                    <a:pt x="3085" y="2492"/>
                  </a:lnTo>
                  <a:cubicBezTo>
                    <a:pt x="3102" y="2502"/>
                    <a:pt x="3118" y="2509"/>
                    <a:pt x="3135" y="2512"/>
                  </a:cubicBezTo>
                  <a:lnTo>
                    <a:pt x="3135" y="2512"/>
                  </a:lnTo>
                  <a:cubicBezTo>
                    <a:pt x="3160" y="2518"/>
                    <a:pt x="3185" y="2517"/>
                    <a:pt x="3209" y="2510"/>
                  </a:cubicBezTo>
                  <a:lnTo>
                    <a:pt x="3209" y="2510"/>
                  </a:lnTo>
                  <a:cubicBezTo>
                    <a:pt x="3255" y="2497"/>
                    <a:pt x="3297" y="2460"/>
                    <a:pt x="3329" y="2405"/>
                  </a:cubicBezTo>
                  <a:lnTo>
                    <a:pt x="3329" y="2405"/>
                  </a:lnTo>
                  <a:cubicBezTo>
                    <a:pt x="3357" y="2356"/>
                    <a:pt x="3369" y="2305"/>
                    <a:pt x="3362" y="2261"/>
                  </a:cubicBezTo>
                  <a:lnTo>
                    <a:pt x="3362" y="2261"/>
                  </a:lnTo>
                  <a:cubicBezTo>
                    <a:pt x="3360" y="2250"/>
                    <a:pt x="3357" y="2239"/>
                    <a:pt x="3353" y="2229"/>
                  </a:cubicBezTo>
                  <a:lnTo>
                    <a:pt x="3353" y="2229"/>
                  </a:lnTo>
                  <a:lnTo>
                    <a:pt x="3352" y="2228"/>
                  </a:lnTo>
                  <a:lnTo>
                    <a:pt x="3352" y="2228"/>
                  </a:lnTo>
                  <a:cubicBezTo>
                    <a:pt x="3352" y="2226"/>
                    <a:pt x="3351" y="2225"/>
                    <a:pt x="3351" y="2224"/>
                  </a:cubicBezTo>
                  <a:lnTo>
                    <a:pt x="3349" y="2222"/>
                  </a:lnTo>
                  <a:lnTo>
                    <a:pt x="3349" y="2222"/>
                  </a:lnTo>
                  <a:cubicBezTo>
                    <a:pt x="3349" y="2221"/>
                    <a:pt x="3349" y="2220"/>
                    <a:pt x="3348" y="2219"/>
                  </a:cubicBezTo>
                  <a:lnTo>
                    <a:pt x="3348" y="2218"/>
                  </a:lnTo>
                  <a:lnTo>
                    <a:pt x="3348" y="2218"/>
                  </a:lnTo>
                  <a:lnTo>
                    <a:pt x="3347" y="2217"/>
                  </a:lnTo>
                  <a:lnTo>
                    <a:pt x="3347" y="2217"/>
                  </a:lnTo>
                  <a:cubicBezTo>
                    <a:pt x="3347" y="2215"/>
                    <a:pt x="3345" y="2213"/>
                    <a:pt x="3345" y="2211"/>
                  </a:cubicBezTo>
                  <a:lnTo>
                    <a:pt x="3345" y="2211"/>
                  </a:lnTo>
                  <a:cubicBezTo>
                    <a:pt x="3332" y="2189"/>
                    <a:pt x="3313" y="2171"/>
                    <a:pt x="3290" y="2156"/>
                  </a:cubicBezTo>
                  <a:lnTo>
                    <a:pt x="3290" y="2156"/>
                  </a:lnTo>
                  <a:cubicBezTo>
                    <a:pt x="3288" y="2155"/>
                    <a:pt x="3285" y="2153"/>
                    <a:pt x="3282" y="2151"/>
                  </a:cubicBezTo>
                  <a:lnTo>
                    <a:pt x="3282" y="2151"/>
                  </a:lnTo>
                  <a:cubicBezTo>
                    <a:pt x="3263" y="2140"/>
                    <a:pt x="3238" y="2131"/>
                    <a:pt x="3208" y="2123"/>
                  </a:cubicBezTo>
                  <a:lnTo>
                    <a:pt x="3208" y="2123"/>
                  </a:lnTo>
                  <a:cubicBezTo>
                    <a:pt x="3176" y="2115"/>
                    <a:pt x="3139" y="2111"/>
                    <a:pt x="3101" y="2108"/>
                  </a:cubicBezTo>
                  <a:lnTo>
                    <a:pt x="3101" y="2108"/>
                  </a:lnTo>
                  <a:cubicBezTo>
                    <a:pt x="3065" y="2106"/>
                    <a:pt x="3034" y="2087"/>
                    <a:pt x="3017" y="2056"/>
                  </a:cubicBezTo>
                  <a:lnTo>
                    <a:pt x="3017" y="2056"/>
                  </a:lnTo>
                  <a:cubicBezTo>
                    <a:pt x="3016" y="2054"/>
                    <a:pt x="3015" y="2052"/>
                    <a:pt x="3014" y="2051"/>
                  </a:cubicBezTo>
                  <a:lnTo>
                    <a:pt x="3014" y="2050"/>
                  </a:lnTo>
                  <a:lnTo>
                    <a:pt x="3014" y="2050"/>
                  </a:lnTo>
                  <a:cubicBezTo>
                    <a:pt x="3005" y="2030"/>
                    <a:pt x="3002" y="2009"/>
                    <a:pt x="3006" y="1989"/>
                  </a:cubicBezTo>
                  <a:lnTo>
                    <a:pt x="3006" y="1989"/>
                  </a:lnTo>
                  <a:cubicBezTo>
                    <a:pt x="3006" y="1987"/>
                    <a:pt x="3007" y="1985"/>
                    <a:pt x="3008" y="1984"/>
                  </a:cubicBezTo>
                  <a:lnTo>
                    <a:pt x="3324" y="1436"/>
                  </a:lnTo>
                  <a:lnTo>
                    <a:pt x="2495" y="0"/>
                  </a:lnTo>
                  <a:lnTo>
                    <a:pt x="831" y="0"/>
                  </a:lnTo>
                  <a:lnTo>
                    <a:pt x="0" y="1437"/>
                  </a:lnTo>
                  <a:lnTo>
                    <a:pt x="314" y="1980"/>
                  </a:lnTo>
                  <a:lnTo>
                    <a:pt x="314" y="1980"/>
                  </a:lnTo>
                  <a:cubicBezTo>
                    <a:pt x="325" y="1987"/>
                    <a:pt x="337" y="1991"/>
                    <a:pt x="349" y="1991"/>
                  </a:cubicBezTo>
                  <a:lnTo>
                    <a:pt x="349" y="1991"/>
                  </a:lnTo>
                  <a:cubicBezTo>
                    <a:pt x="375" y="1993"/>
                    <a:pt x="397" y="1980"/>
                    <a:pt x="412" y="1959"/>
                  </a:cubicBezTo>
                  <a:lnTo>
                    <a:pt x="412" y="1959"/>
                  </a:lnTo>
                  <a:cubicBezTo>
                    <a:pt x="456" y="1894"/>
                    <a:pt x="509" y="1840"/>
                    <a:pt x="553" y="1814"/>
                  </a:cubicBezTo>
                  <a:lnTo>
                    <a:pt x="553" y="1814"/>
                  </a:lnTo>
                  <a:cubicBezTo>
                    <a:pt x="557" y="1812"/>
                    <a:pt x="560" y="1810"/>
                    <a:pt x="563" y="1809"/>
                  </a:cubicBezTo>
                  <a:lnTo>
                    <a:pt x="563" y="1809"/>
                  </a:lnTo>
                  <a:cubicBezTo>
                    <a:pt x="592" y="1794"/>
                    <a:pt x="622" y="1786"/>
                    <a:pt x="653" y="1786"/>
                  </a:cubicBezTo>
                  <a:lnTo>
                    <a:pt x="653" y="1786"/>
                  </a:lnTo>
                  <a:lnTo>
                    <a:pt x="653" y="1786"/>
                  </a:lnTo>
                  <a:cubicBezTo>
                    <a:pt x="656" y="1786"/>
                    <a:pt x="659" y="1786"/>
                    <a:pt x="660" y="1786"/>
                  </a:cubicBezTo>
                  <a:lnTo>
                    <a:pt x="665" y="1786"/>
                  </a:lnTo>
                  <a:lnTo>
                    <a:pt x="665" y="1786"/>
                  </a:lnTo>
                  <a:cubicBezTo>
                    <a:pt x="666" y="1787"/>
                    <a:pt x="667" y="1787"/>
                    <a:pt x="668" y="1787"/>
                  </a:cubicBezTo>
                  <a:lnTo>
                    <a:pt x="670" y="1787"/>
                  </a:lnTo>
                  <a:lnTo>
                    <a:pt x="670" y="1787"/>
                  </a:lnTo>
                  <a:cubicBezTo>
                    <a:pt x="672" y="1787"/>
                    <a:pt x="674" y="1788"/>
                    <a:pt x="676" y="1788"/>
                  </a:cubicBezTo>
                  <a:lnTo>
                    <a:pt x="678" y="1788"/>
                  </a:lnTo>
                  <a:lnTo>
                    <a:pt x="678" y="1788"/>
                  </a:lnTo>
                  <a:cubicBezTo>
                    <a:pt x="691" y="1790"/>
                    <a:pt x="704" y="1793"/>
                    <a:pt x="717" y="1798"/>
                  </a:cubicBezTo>
                  <a:lnTo>
                    <a:pt x="717" y="1798"/>
                  </a:lnTo>
                  <a:cubicBezTo>
                    <a:pt x="765" y="1817"/>
                    <a:pt x="811" y="1858"/>
                    <a:pt x="843" y="1914"/>
                  </a:cubicBezTo>
                  <a:lnTo>
                    <a:pt x="843" y="1914"/>
                  </a:lnTo>
                  <a:cubicBezTo>
                    <a:pt x="879" y="1977"/>
                    <a:pt x="890" y="2040"/>
                    <a:pt x="877" y="2095"/>
                  </a:cubicBezTo>
                  <a:lnTo>
                    <a:pt x="877" y="2095"/>
                  </a:lnTo>
                  <a:cubicBezTo>
                    <a:pt x="869" y="2125"/>
                    <a:pt x="855" y="2152"/>
                    <a:pt x="834" y="2174"/>
                  </a:cubicBezTo>
                  <a:lnTo>
                    <a:pt x="834" y="2174"/>
                  </a:lnTo>
                  <a:cubicBezTo>
                    <a:pt x="820" y="2189"/>
                    <a:pt x="803" y="2203"/>
                    <a:pt x="783" y="2214"/>
                  </a:cubicBezTo>
                  <a:lnTo>
                    <a:pt x="783" y="2214"/>
                  </a:lnTo>
                  <a:cubicBezTo>
                    <a:pt x="761" y="2228"/>
                    <a:pt x="730" y="2239"/>
                    <a:pt x="693" y="2246"/>
                  </a:cubicBezTo>
                  <a:lnTo>
                    <a:pt x="693" y="2246"/>
                  </a:lnTo>
                  <a:cubicBezTo>
                    <a:pt x="660" y="2254"/>
                    <a:pt x="623" y="2260"/>
                    <a:pt x="585" y="2263"/>
                  </a:cubicBezTo>
                  <a:lnTo>
                    <a:pt x="585" y="2263"/>
                  </a:lnTo>
                  <a:cubicBezTo>
                    <a:pt x="561" y="2265"/>
                    <a:pt x="539" y="2279"/>
                    <a:pt x="528" y="2300"/>
                  </a:cubicBezTo>
                  <a:lnTo>
                    <a:pt x="528" y="2300"/>
                  </a:lnTo>
                  <a:cubicBezTo>
                    <a:pt x="522" y="2311"/>
                    <a:pt x="519" y="2323"/>
                    <a:pt x="520" y="2336"/>
                  </a:cubicBezTo>
                  <a:lnTo>
                    <a:pt x="835" y="2881"/>
                  </a:lnTo>
                  <a:lnTo>
                    <a:pt x="2490" y="2882"/>
                  </a:lnTo>
                  <a:lnTo>
                    <a:pt x="2799" y="2345"/>
                  </a:lnTo>
                  <a:lnTo>
                    <a:pt x="2799" y="2345"/>
                  </a:lnTo>
                  <a:cubicBezTo>
                    <a:pt x="2800" y="2344"/>
                    <a:pt x="2801" y="2343"/>
                    <a:pt x="2802" y="2342"/>
                  </a:cubicBezTo>
                  <a:lnTo>
                    <a:pt x="2802" y="2342"/>
                  </a:lnTo>
                  <a:cubicBezTo>
                    <a:pt x="2804" y="2339"/>
                    <a:pt x="2807" y="2338"/>
                    <a:pt x="2810" y="2336"/>
                  </a:cubicBezTo>
                  <a:lnTo>
                    <a:pt x="2811" y="2334"/>
                  </a:lnTo>
                  <a:lnTo>
                    <a:pt x="2811" y="2334"/>
                  </a:lnTo>
                  <a:cubicBezTo>
                    <a:pt x="2812" y="2332"/>
                    <a:pt x="2814" y="2330"/>
                    <a:pt x="2815" y="2329"/>
                  </a:cubicBezTo>
                </a:path>
              </a:pathLst>
            </a:custGeom>
            <a:solidFill>
              <a:schemeClr val="accent2"/>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5" name="Freeform 5">
              <a:extLst>
                <a:ext uri="{FF2B5EF4-FFF2-40B4-BE49-F238E27FC236}">
                  <a16:creationId xmlns:a16="http://schemas.microsoft.com/office/drawing/2014/main" id="{52364C80-927B-2443-AC29-146EC6CD51F1}"/>
                </a:ext>
              </a:extLst>
            </p:cNvPr>
            <p:cNvSpPr>
              <a:spLocks noChangeArrowheads="1"/>
            </p:cNvSpPr>
            <p:nvPr/>
          </p:nvSpPr>
          <p:spPr bwMode="auto">
            <a:xfrm>
              <a:off x="4995152" y="2004137"/>
              <a:ext cx="2098563" cy="1796413"/>
            </a:xfrm>
            <a:custGeom>
              <a:avLst/>
              <a:gdLst>
                <a:gd name="T0" fmla="*/ 2814 w 3368"/>
                <a:gd name="T1" fmla="*/ 2329 h 2883"/>
                <a:gd name="T2" fmla="*/ 2864 w 3368"/>
                <a:gd name="T3" fmla="*/ 2311 h 2883"/>
                <a:gd name="T4" fmla="*/ 2869 w 3368"/>
                <a:gd name="T5" fmla="*/ 2310 h 2883"/>
                <a:gd name="T6" fmla="*/ 2872 w 3368"/>
                <a:gd name="T7" fmla="*/ 2310 h 2883"/>
                <a:gd name="T8" fmla="*/ 2955 w 3368"/>
                <a:gd name="T9" fmla="*/ 2356 h 2883"/>
                <a:gd name="T10" fmla="*/ 3083 w 3368"/>
                <a:gd name="T11" fmla="*/ 2492 h 2883"/>
                <a:gd name="T12" fmla="*/ 3133 w 3368"/>
                <a:gd name="T13" fmla="*/ 2512 h 2883"/>
                <a:gd name="T14" fmla="*/ 3207 w 3368"/>
                <a:gd name="T15" fmla="*/ 2510 h 2883"/>
                <a:gd name="T16" fmla="*/ 3327 w 3368"/>
                <a:gd name="T17" fmla="*/ 2406 h 2883"/>
                <a:gd name="T18" fmla="*/ 3360 w 3368"/>
                <a:gd name="T19" fmla="*/ 2261 h 2883"/>
                <a:gd name="T20" fmla="*/ 3351 w 3368"/>
                <a:gd name="T21" fmla="*/ 2229 h 2883"/>
                <a:gd name="T22" fmla="*/ 3351 w 3368"/>
                <a:gd name="T23" fmla="*/ 2228 h 2883"/>
                <a:gd name="T24" fmla="*/ 3349 w 3368"/>
                <a:gd name="T25" fmla="*/ 2224 h 2883"/>
                <a:gd name="T26" fmla="*/ 3347 w 3368"/>
                <a:gd name="T27" fmla="*/ 2223 h 2883"/>
                <a:gd name="T28" fmla="*/ 3345 w 3368"/>
                <a:gd name="T29" fmla="*/ 2217 h 2883"/>
                <a:gd name="T30" fmla="*/ 3343 w 3368"/>
                <a:gd name="T31" fmla="*/ 2211 h 2883"/>
                <a:gd name="T32" fmla="*/ 3332 w 3368"/>
                <a:gd name="T33" fmla="*/ 2196 h 2883"/>
                <a:gd name="T34" fmla="*/ 3330 w 3368"/>
                <a:gd name="T35" fmla="*/ 2194 h 2883"/>
                <a:gd name="T36" fmla="*/ 3326 w 3368"/>
                <a:gd name="T37" fmla="*/ 2189 h 2883"/>
                <a:gd name="T38" fmla="*/ 3284 w 3368"/>
                <a:gd name="T39" fmla="*/ 2156 h 2883"/>
                <a:gd name="T40" fmla="*/ 3099 w 3368"/>
                <a:gd name="T41" fmla="*/ 2114 h 2883"/>
                <a:gd name="T42" fmla="*/ 3015 w 3368"/>
                <a:gd name="T43" fmla="*/ 2061 h 2883"/>
                <a:gd name="T44" fmla="*/ 3013 w 3368"/>
                <a:gd name="T45" fmla="*/ 2056 h 2883"/>
                <a:gd name="T46" fmla="*/ 3012 w 3368"/>
                <a:gd name="T47" fmla="*/ 2055 h 2883"/>
                <a:gd name="T48" fmla="*/ 3004 w 3368"/>
                <a:gd name="T49" fmla="*/ 1994 h 2883"/>
                <a:gd name="T50" fmla="*/ 3324 w 3368"/>
                <a:gd name="T51" fmla="*/ 1440 h 2883"/>
                <a:gd name="T52" fmla="*/ 3324 w 3368"/>
                <a:gd name="T53" fmla="*/ 1439 h 2883"/>
                <a:gd name="T54" fmla="*/ 829 w 3368"/>
                <a:gd name="T55" fmla="*/ 0 h 2883"/>
                <a:gd name="T56" fmla="*/ 316 w 3368"/>
                <a:gd name="T57" fmla="*/ 1982 h 2883"/>
                <a:gd name="T58" fmla="*/ 337 w 3368"/>
                <a:gd name="T59" fmla="*/ 1991 h 2883"/>
                <a:gd name="T60" fmla="*/ 347 w 3368"/>
                <a:gd name="T61" fmla="*/ 1992 h 2883"/>
                <a:gd name="T62" fmla="*/ 347 w 3368"/>
                <a:gd name="T63" fmla="*/ 1992 h 2883"/>
                <a:gd name="T64" fmla="*/ 410 w 3368"/>
                <a:gd name="T65" fmla="*/ 1960 h 2883"/>
                <a:gd name="T66" fmla="*/ 504 w 3368"/>
                <a:gd name="T67" fmla="*/ 1850 h 2883"/>
                <a:gd name="T68" fmla="*/ 550 w 3368"/>
                <a:gd name="T69" fmla="*/ 1815 h 2883"/>
                <a:gd name="T70" fmla="*/ 598 w 3368"/>
                <a:gd name="T71" fmla="*/ 1794 h 2883"/>
                <a:gd name="T72" fmla="*/ 651 w 3368"/>
                <a:gd name="T73" fmla="*/ 1786 h 2883"/>
                <a:gd name="T74" fmla="*/ 662 w 3368"/>
                <a:gd name="T75" fmla="*/ 1787 h 2883"/>
                <a:gd name="T76" fmla="*/ 666 w 3368"/>
                <a:gd name="T77" fmla="*/ 1787 h 2883"/>
                <a:gd name="T78" fmla="*/ 668 w 3368"/>
                <a:gd name="T79" fmla="*/ 1787 h 2883"/>
                <a:gd name="T80" fmla="*/ 674 w 3368"/>
                <a:gd name="T81" fmla="*/ 1788 h 2883"/>
                <a:gd name="T82" fmla="*/ 675 w 3368"/>
                <a:gd name="T83" fmla="*/ 1788 h 2883"/>
                <a:gd name="T84" fmla="*/ 715 w 3368"/>
                <a:gd name="T85" fmla="*/ 1799 h 2883"/>
                <a:gd name="T86" fmla="*/ 841 w 3368"/>
                <a:gd name="T87" fmla="*/ 1914 h 2883"/>
                <a:gd name="T88" fmla="*/ 874 w 3368"/>
                <a:gd name="T89" fmla="*/ 2096 h 2883"/>
                <a:gd name="T90" fmla="*/ 832 w 3368"/>
                <a:gd name="T91" fmla="*/ 2175 h 2883"/>
                <a:gd name="T92" fmla="*/ 781 w 3368"/>
                <a:gd name="T93" fmla="*/ 2214 h 2883"/>
                <a:gd name="T94" fmla="*/ 583 w 3368"/>
                <a:gd name="T95" fmla="*/ 2261 h 2883"/>
                <a:gd name="T96" fmla="*/ 525 w 3368"/>
                <a:gd name="T97" fmla="*/ 2298 h 2883"/>
                <a:gd name="T98" fmla="*/ 524 w 3368"/>
                <a:gd name="T99" fmla="*/ 2299 h 2883"/>
                <a:gd name="T100" fmla="*/ 523 w 3368"/>
                <a:gd name="T101" fmla="*/ 2302 h 2883"/>
                <a:gd name="T102" fmla="*/ 521 w 3368"/>
                <a:gd name="T103" fmla="*/ 2305 h 2883"/>
                <a:gd name="T104" fmla="*/ 836 w 3368"/>
                <a:gd name="T105" fmla="*/ 2882 h 2883"/>
                <a:gd name="T106" fmla="*/ 2798 w 3368"/>
                <a:gd name="T107" fmla="*/ 2351 h 2883"/>
                <a:gd name="T108" fmla="*/ 2801 w 3368"/>
                <a:gd name="T109" fmla="*/ 2347 h 2883"/>
                <a:gd name="T110" fmla="*/ 2802 w 3368"/>
                <a:gd name="T111" fmla="*/ 2346 h 2883"/>
                <a:gd name="T112" fmla="*/ 2809 w 3368"/>
                <a:gd name="T113" fmla="*/ 2334 h 2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68" h="2883">
                  <a:moveTo>
                    <a:pt x="2814" y="2329"/>
                  </a:moveTo>
                  <a:lnTo>
                    <a:pt x="2814" y="2329"/>
                  </a:lnTo>
                  <a:cubicBezTo>
                    <a:pt x="2828" y="2319"/>
                    <a:pt x="2845" y="2312"/>
                    <a:pt x="2863" y="2311"/>
                  </a:cubicBezTo>
                  <a:lnTo>
                    <a:pt x="2864" y="2311"/>
                  </a:lnTo>
                  <a:lnTo>
                    <a:pt x="2864" y="2311"/>
                  </a:lnTo>
                  <a:cubicBezTo>
                    <a:pt x="2866" y="2310"/>
                    <a:pt x="2868" y="2310"/>
                    <a:pt x="2869" y="2310"/>
                  </a:cubicBezTo>
                  <a:lnTo>
                    <a:pt x="2869" y="2310"/>
                  </a:lnTo>
                  <a:cubicBezTo>
                    <a:pt x="2870" y="2310"/>
                    <a:pt x="2871" y="2310"/>
                    <a:pt x="2872" y="2310"/>
                  </a:cubicBezTo>
                  <a:lnTo>
                    <a:pt x="2872" y="2310"/>
                  </a:lnTo>
                  <a:cubicBezTo>
                    <a:pt x="2906" y="2310"/>
                    <a:pt x="2937" y="2327"/>
                    <a:pt x="2955" y="2356"/>
                  </a:cubicBezTo>
                  <a:lnTo>
                    <a:pt x="2955" y="2356"/>
                  </a:lnTo>
                  <a:cubicBezTo>
                    <a:pt x="2997" y="2419"/>
                    <a:pt x="3044" y="2470"/>
                    <a:pt x="3083" y="2492"/>
                  </a:cubicBezTo>
                  <a:lnTo>
                    <a:pt x="3083" y="2492"/>
                  </a:lnTo>
                  <a:cubicBezTo>
                    <a:pt x="3100" y="2502"/>
                    <a:pt x="3116" y="2509"/>
                    <a:pt x="3133" y="2512"/>
                  </a:cubicBezTo>
                  <a:lnTo>
                    <a:pt x="3133" y="2512"/>
                  </a:lnTo>
                  <a:cubicBezTo>
                    <a:pt x="3158" y="2518"/>
                    <a:pt x="3183" y="2517"/>
                    <a:pt x="3207" y="2510"/>
                  </a:cubicBezTo>
                  <a:lnTo>
                    <a:pt x="3207" y="2510"/>
                  </a:lnTo>
                  <a:cubicBezTo>
                    <a:pt x="3253" y="2497"/>
                    <a:pt x="3295" y="2460"/>
                    <a:pt x="3327" y="2406"/>
                  </a:cubicBezTo>
                  <a:lnTo>
                    <a:pt x="3327" y="2406"/>
                  </a:lnTo>
                  <a:cubicBezTo>
                    <a:pt x="3355" y="2357"/>
                    <a:pt x="3367" y="2305"/>
                    <a:pt x="3360" y="2261"/>
                  </a:cubicBezTo>
                  <a:lnTo>
                    <a:pt x="3360" y="2261"/>
                  </a:lnTo>
                  <a:cubicBezTo>
                    <a:pt x="3358" y="2250"/>
                    <a:pt x="3355" y="2240"/>
                    <a:pt x="3351" y="2229"/>
                  </a:cubicBezTo>
                  <a:lnTo>
                    <a:pt x="3351" y="2229"/>
                  </a:lnTo>
                  <a:lnTo>
                    <a:pt x="3351" y="2228"/>
                  </a:lnTo>
                  <a:lnTo>
                    <a:pt x="3351" y="2228"/>
                  </a:lnTo>
                  <a:cubicBezTo>
                    <a:pt x="3350" y="2226"/>
                    <a:pt x="3349" y="2225"/>
                    <a:pt x="3349" y="2224"/>
                  </a:cubicBezTo>
                  <a:lnTo>
                    <a:pt x="3347" y="2223"/>
                  </a:lnTo>
                  <a:lnTo>
                    <a:pt x="3347" y="2223"/>
                  </a:lnTo>
                  <a:cubicBezTo>
                    <a:pt x="3347" y="2221"/>
                    <a:pt x="3347" y="2221"/>
                    <a:pt x="3346" y="2219"/>
                  </a:cubicBezTo>
                  <a:lnTo>
                    <a:pt x="3345" y="2217"/>
                  </a:lnTo>
                  <a:lnTo>
                    <a:pt x="3345" y="2217"/>
                  </a:lnTo>
                  <a:cubicBezTo>
                    <a:pt x="3345" y="2215"/>
                    <a:pt x="3343" y="2213"/>
                    <a:pt x="3343" y="2211"/>
                  </a:cubicBezTo>
                  <a:lnTo>
                    <a:pt x="3343" y="2211"/>
                  </a:lnTo>
                  <a:cubicBezTo>
                    <a:pt x="3340" y="2206"/>
                    <a:pt x="3336" y="2201"/>
                    <a:pt x="3332" y="2196"/>
                  </a:cubicBezTo>
                  <a:lnTo>
                    <a:pt x="3332" y="2196"/>
                  </a:lnTo>
                  <a:cubicBezTo>
                    <a:pt x="3332" y="2195"/>
                    <a:pt x="3331" y="2195"/>
                    <a:pt x="3330" y="2194"/>
                  </a:cubicBezTo>
                  <a:lnTo>
                    <a:pt x="3330" y="2194"/>
                  </a:lnTo>
                  <a:cubicBezTo>
                    <a:pt x="3329" y="2192"/>
                    <a:pt x="3327" y="2190"/>
                    <a:pt x="3326" y="2189"/>
                  </a:cubicBezTo>
                  <a:lnTo>
                    <a:pt x="3326" y="2189"/>
                  </a:lnTo>
                  <a:cubicBezTo>
                    <a:pt x="3314" y="2177"/>
                    <a:pt x="3300" y="2166"/>
                    <a:pt x="3284" y="2156"/>
                  </a:cubicBezTo>
                  <a:lnTo>
                    <a:pt x="3284" y="2156"/>
                  </a:lnTo>
                  <a:cubicBezTo>
                    <a:pt x="3245" y="2134"/>
                    <a:pt x="3176" y="2118"/>
                    <a:pt x="3099" y="2114"/>
                  </a:cubicBezTo>
                  <a:lnTo>
                    <a:pt x="3099" y="2114"/>
                  </a:lnTo>
                  <a:cubicBezTo>
                    <a:pt x="3064" y="2112"/>
                    <a:pt x="3033" y="2092"/>
                    <a:pt x="3015" y="2061"/>
                  </a:cubicBezTo>
                  <a:lnTo>
                    <a:pt x="3015" y="2061"/>
                  </a:lnTo>
                  <a:cubicBezTo>
                    <a:pt x="3015" y="2059"/>
                    <a:pt x="3014" y="2058"/>
                    <a:pt x="3013" y="2056"/>
                  </a:cubicBezTo>
                  <a:lnTo>
                    <a:pt x="3012" y="2055"/>
                  </a:lnTo>
                  <a:lnTo>
                    <a:pt x="3012" y="2055"/>
                  </a:lnTo>
                  <a:cubicBezTo>
                    <a:pt x="3004" y="2035"/>
                    <a:pt x="3001" y="2015"/>
                    <a:pt x="3004" y="1994"/>
                  </a:cubicBezTo>
                  <a:lnTo>
                    <a:pt x="3004" y="1994"/>
                  </a:lnTo>
                  <a:cubicBezTo>
                    <a:pt x="3005" y="1993"/>
                    <a:pt x="3006" y="1991"/>
                    <a:pt x="3006" y="1989"/>
                  </a:cubicBezTo>
                  <a:lnTo>
                    <a:pt x="3324" y="1440"/>
                  </a:lnTo>
                  <a:lnTo>
                    <a:pt x="3324" y="1440"/>
                  </a:lnTo>
                  <a:cubicBezTo>
                    <a:pt x="3324" y="1439"/>
                    <a:pt x="3324" y="1439"/>
                    <a:pt x="3324" y="1439"/>
                  </a:cubicBezTo>
                  <a:lnTo>
                    <a:pt x="2493" y="0"/>
                  </a:lnTo>
                  <a:lnTo>
                    <a:pt x="829" y="0"/>
                  </a:lnTo>
                  <a:lnTo>
                    <a:pt x="0" y="1434"/>
                  </a:lnTo>
                  <a:lnTo>
                    <a:pt x="316" y="1982"/>
                  </a:lnTo>
                  <a:lnTo>
                    <a:pt x="316" y="1982"/>
                  </a:lnTo>
                  <a:cubicBezTo>
                    <a:pt x="323" y="1986"/>
                    <a:pt x="330" y="1989"/>
                    <a:pt x="337" y="1991"/>
                  </a:cubicBezTo>
                  <a:lnTo>
                    <a:pt x="337" y="1991"/>
                  </a:lnTo>
                  <a:cubicBezTo>
                    <a:pt x="340" y="1991"/>
                    <a:pt x="344" y="1992"/>
                    <a:pt x="347" y="1992"/>
                  </a:cubicBezTo>
                  <a:lnTo>
                    <a:pt x="347" y="1992"/>
                  </a:lnTo>
                  <a:lnTo>
                    <a:pt x="347" y="1992"/>
                  </a:lnTo>
                  <a:cubicBezTo>
                    <a:pt x="372" y="1993"/>
                    <a:pt x="395" y="1981"/>
                    <a:pt x="410" y="1960"/>
                  </a:cubicBezTo>
                  <a:lnTo>
                    <a:pt x="410" y="1960"/>
                  </a:lnTo>
                  <a:cubicBezTo>
                    <a:pt x="439" y="1917"/>
                    <a:pt x="472" y="1879"/>
                    <a:pt x="504" y="1850"/>
                  </a:cubicBezTo>
                  <a:lnTo>
                    <a:pt x="504" y="1850"/>
                  </a:lnTo>
                  <a:cubicBezTo>
                    <a:pt x="520" y="1835"/>
                    <a:pt x="536" y="1823"/>
                    <a:pt x="550" y="1815"/>
                  </a:cubicBezTo>
                  <a:lnTo>
                    <a:pt x="550" y="1815"/>
                  </a:lnTo>
                  <a:cubicBezTo>
                    <a:pt x="566" y="1806"/>
                    <a:pt x="581" y="1799"/>
                    <a:pt x="598" y="1794"/>
                  </a:cubicBezTo>
                  <a:lnTo>
                    <a:pt x="598" y="1794"/>
                  </a:lnTo>
                  <a:cubicBezTo>
                    <a:pt x="616" y="1789"/>
                    <a:pt x="633" y="1786"/>
                    <a:pt x="651" y="1786"/>
                  </a:cubicBezTo>
                  <a:lnTo>
                    <a:pt x="651" y="1786"/>
                  </a:lnTo>
                  <a:cubicBezTo>
                    <a:pt x="654" y="1786"/>
                    <a:pt x="656" y="1786"/>
                    <a:pt x="658" y="1786"/>
                  </a:cubicBezTo>
                  <a:lnTo>
                    <a:pt x="662" y="1787"/>
                  </a:lnTo>
                  <a:lnTo>
                    <a:pt x="662" y="1787"/>
                  </a:lnTo>
                  <a:cubicBezTo>
                    <a:pt x="664" y="1787"/>
                    <a:pt x="665" y="1787"/>
                    <a:pt x="666" y="1787"/>
                  </a:cubicBezTo>
                  <a:lnTo>
                    <a:pt x="668" y="1787"/>
                  </a:lnTo>
                  <a:lnTo>
                    <a:pt x="668" y="1787"/>
                  </a:lnTo>
                  <a:cubicBezTo>
                    <a:pt x="670" y="1788"/>
                    <a:pt x="672" y="1788"/>
                    <a:pt x="674" y="1788"/>
                  </a:cubicBezTo>
                  <a:lnTo>
                    <a:pt x="674" y="1788"/>
                  </a:lnTo>
                  <a:cubicBezTo>
                    <a:pt x="674" y="1788"/>
                    <a:pt x="674" y="1788"/>
                    <a:pt x="675" y="1788"/>
                  </a:cubicBezTo>
                  <a:lnTo>
                    <a:pt x="675" y="1788"/>
                  </a:lnTo>
                  <a:cubicBezTo>
                    <a:pt x="689" y="1790"/>
                    <a:pt x="702" y="1794"/>
                    <a:pt x="715" y="1799"/>
                  </a:cubicBezTo>
                  <a:lnTo>
                    <a:pt x="715" y="1799"/>
                  </a:lnTo>
                  <a:cubicBezTo>
                    <a:pt x="764" y="1817"/>
                    <a:pt x="809" y="1858"/>
                    <a:pt x="841" y="1914"/>
                  </a:cubicBezTo>
                  <a:lnTo>
                    <a:pt x="841" y="1914"/>
                  </a:lnTo>
                  <a:cubicBezTo>
                    <a:pt x="877" y="1977"/>
                    <a:pt x="888" y="2040"/>
                    <a:pt x="874" y="2096"/>
                  </a:cubicBezTo>
                  <a:lnTo>
                    <a:pt x="874" y="2096"/>
                  </a:lnTo>
                  <a:cubicBezTo>
                    <a:pt x="867" y="2125"/>
                    <a:pt x="853" y="2151"/>
                    <a:pt x="832" y="2175"/>
                  </a:cubicBezTo>
                  <a:lnTo>
                    <a:pt x="832" y="2175"/>
                  </a:lnTo>
                  <a:cubicBezTo>
                    <a:pt x="818" y="2190"/>
                    <a:pt x="801" y="2203"/>
                    <a:pt x="781" y="2214"/>
                  </a:cubicBezTo>
                  <a:lnTo>
                    <a:pt x="781" y="2214"/>
                  </a:lnTo>
                  <a:cubicBezTo>
                    <a:pt x="739" y="2239"/>
                    <a:pt x="664" y="2257"/>
                    <a:pt x="583" y="2261"/>
                  </a:cubicBezTo>
                  <a:lnTo>
                    <a:pt x="583" y="2261"/>
                  </a:lnTo>
                  <a:cubicBezTo>
                    <a:pt x="558" y="2262"/>
                    <a:pt x="537" y="2276"/>
                    <a:pt x="525" y="2298"/>
                  </a:cubicBezTo>
                  <a:lnTo>
                    <a:pt x="525" y="2298"/>
                  </a:lnTo>
                  <a:lnTo>
                    <a:pt x="524" y="2299"/>
                  </a:lnTo>
                  <a:lnTo>
                    <a:pt x="524" y="2299"/>
                  </a:lnTo>
                  <a:cubicBezTo>
                    <a:pt x="523" y="2301"/>
                    <a:pt x="523" y="2301"/>
                    <a:pt x="523" y="2302"/>
                  </a:cubicBezTo>
                  <a:lnTo>
                    <a:pt x="523" y="2302"/>
                  </a:lnTo>
                  <a:cubicBezTo>
                    <a:pt x="522" y="2303"/>
                    <a:pt x="522" y="2304"/>
                    <a:pt x="521" y="2305"/>
                  </a:cubicBezTo>
                  <a:lnTo>
                    <a:pt x="521" y="2305"/>
                  </a:lnTo>
                  <a:cubicBezTo>
                    <a:pt x="518" y="2313"/>
                    <a:pt x="517" y="2322"/>
                    <a:pt x="518" y="2331"/>
                  </a:cubicBezTo>
                  <a:lnTo>
                    <a:pt x="836" y="2882"/>
                  </a:lnTo>
                  <a:lnTo>
                    <a:pt x="2491" y="2882"/>
                  </a:lnTo>
                  <a:lnTo>
                    <a:pt x="2798" y="2351"/>
                  </a:lnTo>
                  <a:lnTo>
                    <a:pt x="2798" y="2351"/>
                  </a:lnTo>
                  <a:cubicBezTo>
                    <a:pt x="2798" y="2349"/>
                    <a:pt x="2800" y="2348"/>
                    <a:pt x="2801" y="2347"/>
                  </a:cubicBezTo>
                  <a:lnTo>
                    <a:pt x="2801" y="2347"/>
                  </a:lnTo>
                  <a:cubicBezTo>
                    <a:pt x="2801" y="2346"/>
                    <a:pt x="2801" y="2346"/>
                    <a:pt x="2802" y="2346"/>
                  </a:cubicBezTo>
                  <a:lnTo>
                    <a:pt x="2809" y="2334"/>
                  </a:lnTo>
                  <a:lnTo>
                    <a:pt x="2809" y="2334"/>
                  </a:lnTo>
                  <a:cubicBezTo>
                    <a:pt x="2810" y="2332"/>
                    <a:pt x="2812" y="2330"/>
                    <a:pt x="2814" y="2329"/>
                  </a:cubicBezTo>
                </a:path>
              </a:pathLst>
            </a:custGeom>
            <a:solidFill>
              <a:schemeClr val="accent4"/>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6" name="Freeform 6">
              <a:extLst>
                <a:ext uri="{FF2B5EF4-FFF2-40B4-BE49-F238E27FC236}">
                  <a16:creationId xmlns:a16="http://schemas.microsoft.com/office/drawing/2014/main" id="{AF6DEB83-28B1-6B44-9724-0FB1C6CE51F4}"/>
                </a:ext>
              </a:extLst>
            </p:cNvPr>
            <p:cNvSpPr>
              <a:spLocks noChangeArrowheads="1"/>
            </p:cNvSpPr>
            <p:nvPr/>
          </p:nvSpPr>
          <p:spPr bwMode="auto">
            <a:xfrm>
              <a:off x="6560833" y="2913330"/>
              <a:ext cx="2098563" cy="1796413"/>
            </a:xfrm>
            <a:custGeom>
              <a:avLst/>
              <a:gdLst>
                <a:gd name="T0" fmla="*/ 844 w 3371"/>
                <a:gd name="T1" fmla="*/ 968 h 2884"/>
                <a:gd name="T2" fmla="*/ 718 w 3371"/>
                <a:gd name="T3" fmla="*/ 1083 h 2884"/>
                <a:gd name="T4" fmla="*/ 677 w 3371"/>
                <a:gd name="T5" fmla="*/ 1094 h 2884"/>
                <a:gd name="T6" fmla="*/ 671 w 3371"/>
                <a:gd name="T7" fmla="*/ 1094 h 2884"/>
                <a:gd name="T8" fmla="*/ 670 w 3371"/>
                <a:gd name="T9" fmla="*/ 1095 h 2884"/>
                <a:gd name="T10" fmla="*/ 663 w 3371"/>
                <a:gd name="T11" fmla="*/ 1095 h 2884"/>
                <a:gd name="T12" fmla="*/ 655 w 3371"/>
                <a:gd name="T13" fmla="*/ 1095 h 2884"/>
                <a:gd name="T14" fmla="*/ 655 w 3371"/>
                <a:gd name="T15" fmla="*/ 1095 h 2884"/>
                <a:gd name="T16" fmla="*/ 565 w 3371"/>
                <a:gd name="T17" fmla="*/ 1073 h 2884"/>
                <a:gd name="T18" fmla="*/ 555 w 3371"/>
                <a:gd name="T19" fmla="*/ 1067 h 2884"/>
                <a:gd name="T20" fmla="*/ 413 w 3371"/>
                <a:gd name="T21" fmla="*/ 922 h 2884"/>
                <a:gd name="T22" fmla="*/ 351 w 3371"/>
                <a:gd name="T23" fmla="*/ 890 h 2884"/>
                <a:gd name="T24" fmla="*/ 0 w 3371"/>
                <a:gd name="T25" fmla="*/ 1443 h 2884"/>
                <a:gd name="T26" fmla="*/ 2497 w 3371"/>
                <a:gd name="T27" fmla="*/ 2882 h 2884"/>
                <a:gd name="T28" fmla="*/ 3011 w 3371"/>
                <a:gd name="T29" fmla="*/ 891 h 2884"/>
                <a:gd name="T30" fmla="*/ 3009 w 3371"/>
                <a:gd name="T31" fmla="*/ 885 h 2884"/>
                <a:gd name="T32" fmla="*/ 3020 w 3371"/>
                <a:gd name="T33" fmla="*/ 829 h 2884"/>
                <a:gd name="T34" fmla="*/ 3103 w 3371"/>
                <a:gd name="T35" fmla="*/ 776 h 2884"/>
                <a:gd name="T36" fmla="*/ 3284 w 3371"/>
                <a:gd name="T37" fmla="*/ 730 h 2884"/>
                <a:gd name="T38" fmla="*/ 3292 w 3371"/>
                <a:gd name="T39" fmla="*/ 726 h 2884"/>
                <a:gd name="T40" fmla="*/ 3346 w 3371"/>
                <a:gd name="T41" fmla="*/ 670 h 2884"/>
                <a:gd name="T42" fmla="*/ 3349 w 3371"/>
                <a:gd name="T43" fmla="*/ 665 h 2884"/>
                <a:gd name="T44" fmla="*/ 3352 w 3371"/>
                <a:gd name="T45" fmla="*/ 658 h 2884"/>
                <a:gd name="T46" fmla="*/ 3369 w 3371"/>
                <a:gd name="T47" fmla="*/ 659 h 2884"/>
                <a:gd name="T48" fmla="*/ 3354 w 3371"/>
                <a:gd name="T49" fmla="*/ 653 h 2884"/>
                <a:gd name="T50" fmla="*/ 3363 w 3371"/>
                <a:gd name="T51" fmla="*/ 621 h 2884"/>
                <a:gd name="T52" fmla="*/ 3330 w 3371"/>
                <a:gd name="T53" fmla="*/ 476 h 2884"/>
                <a:gd name="T54" fmla="*/ 3210 w 3371"/>
                <a:gd name="T55" fmla="*/ 371 h 2884"/>
                <a:gd name="T56" fmla="*/ 3137 w 3371"/>
                <a:gd name="T57" fmla="*/ 370 h 2884"/>
                <a:gd name="T58" fmla="*/ 3087 w 3371"/>
                <a:gd name="T59" fmla="*/ 389 h 2884"/>
                <a:gd name="T60" fmla="*/ 2959 w 3371"/>
                <a:gd name="T61" fmla="*/ 526 h 2884"/>
                <a:gd name="T62" fmla="*/ 2873 w 3371"/>
                <a:gd name="T63" fmla="*/ 571 h 2884"/>
                <a:gd name="T64" fmla="*/ 2866 w 3371"/>
                <a:gd name="T65" fmla="*/ 571 h 2884"/>
                <a:gd name="T66" fmla="*/ 2817 w 3371"/>
                <a:gd name="T67" fmla="*/ 553 h 2884"/>
                <a:gd name="T68" fmla="*/ 2813 w 3371"/>
                <a:gd name="T69" fmla="*/ 548 h 2884"/>
                <a:gd name="T70" fmla="*/ 834 w 3371"/>
                <a:gd name="T71" fmla="*/ 0 h 2884"/>
                <a:gd name="T72" fmla="*/ 522 w 3371"/>
                <a:gd name="T73" fmla="*/ 541 h 2884"/>
                <a:gd name="T74" fmla="*/ 530 w 3371"/>
                <a:gd name="T75" fmla="*/ 576 h 2884"/>
                <a:gd name="T76" fmla="*/ 587 w 3371"/>
                <a:gd name="T77" fmla="*/ 614 h 2884"/>
                <a:gd name="T78" fmla="*/ 781 w 3371"/>
                <a:gd name="T79" fmla="*/ 663 h 2884"/>
                <a:gd name="T80" fmla="*/ 791 w 3371"/>
                <a:gd name="T81" fmla="*/ 669 h 2884"/>
                <a:gd name="T82" fmla="*/ 839 w 3371"/>
                <a:gd name="T83" fmla="*/ 711 h 2884"/>
                <a:gd name="T84" fmla="*/ 878 w 3371"/>
                <a:gd name="T85" fmla="*/ 786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71" h="2884">
                  <a:moveTo>
                    <a:pt x="844" y="968"/>
                  </a:moveTo>
                  <a:lnTo>
                    <a:pt x="844" y="968"/>
                  </a:lnTo>
                  <a:cubicBezTo>
                    <a:pt x="812" y="1023"/>
                    <a:pt x="768" y="1064"/>
                    <a:pt x="718" y="1083"/>
                  </a:cubicBezTo>
                  <a:lnTo>
                    <a:pt x="718" y="1083"/>
                  </a:lnTo>
                  <a:cubicBezTo>
                    <a:pt x="706" y="1088"/>
                    <a:pt x="692" y="1092"/>
                    <a:pt x="679" y="1094"/>
                  </a:cubicBezTo>
                  <a:lnTo>
                    <a:pt x="677" y="1094"/>
                  </a:lnTo>
                  <a:lnTo>
                    <a:pt x="677" y="1094"/>
                  </a:lnTo>
                  <a:cubicBezTo>
                    <a:pt x="675" y="1094"/>
                    <a:pt x="673" y="1094"/>
                    <a:pt x="671" y="1094"/>
                  </a:cubicBezTo>
                  <a:lnTo>
                    <a:pt x="670" y="1095"/>
                  </a:lnTo>
                  <a:lnTo>
                    <a:pt x="670" y="1095"/>
                  </a:lnTo>
                  <a:cubicBezTo>
                    <a:pt x="668" y="1095"/>
                    <a:pt x="667" y="1095"/>
                    <a:pt x="666" y="1095"/>
                  </a:cubicBezTo>
                  <a:lnTo>
                    <a:pt x="663" y="1095"/>
                  </a:lnTo>
                  <a:lnTo>
                    <a:pt x="663" y="1095"/>
                  </a:lnTo>
                  <a:cubicBezTo>
                    <a:pt x="660" y="1095"/>
                    <a:pt x="658" y="1095"/>
                    <a:pt x="655" y="1095"/>
                  </a:cubicBezTo>
                  <a:lnTo>
                    <a:pt x="655" y="1095"/>
                  </a:lnTo>
                  <a:lnTo>
                    <a:pt x="655" y="1095"/>
                  </a:lnTo>
                  <a:cubicBezTo>
                    <a:pt x="624" y="1095"/>
                    <a:pt x="595" y="1088"/>
                    <a:pt x="565" y="1073"/>
                  </a:cubicBezTo>
                  <a:lnTo>
                    <a:pt x="565" y="1073"/>
                  </a:lnTo>
                  <a:cubicBezTo>
                    <a:pt x="562" y="1071"/>
                    <a:pt x="558" y="1069"/>
                    <a:pt x="555" y="1067"/>
                  </a:cubicBezTo>
                  <a:lnTo>
                    <a:pt x="555" y="1067"/>
                  </a:lnTo>
                  <a:cubicBezTo>
                    <a:pt x="511" y="1042"/>
                    <a:pt x="458" y="988"/>
                    <a:pt x="413" y="922"/>
                  </a:cubicBezTo>
                  <a:lnTo>
                    <a:pt x="413" y="922"/>
                  </a:lnTo>
                  <a:cubicBezTo>
                    <a:pt x="399" y="901"/>
                    <a:pt x="375" y="889"/>
                    <a:pt x="351" y="890"/>
                  </a:cubicBezTo>
                  <a:lnTo>
                    <a:pt x="351" y="890"/>
                  </a:lnTo>
                  <a:cubicBezTo>
                    <a:pt x="336" y="891"/>
                    <a:pt x="323" y="895"/>
                    <a:pt x="311" y="904"/>
                  </a:cubicBezTo>
                  <a:lnTo>
                    <a:pt x="0" y="1443"/>
                  </a:lnTo>
                  <a:lnTo>
                    <a:pt x="832" y="2883"/>
                  </a:lnTo>
                  <a:lnTo>
                    <a:pt x="2497" y="2882"/>
                  </a:lnTo>
                  <a:lnTo>
                    <a:pt x="3329" y="1440"/>
                  </a:lnTo>
                  <a:lnTo>
                    <a:pt x="3011" y="891"/>
                  </a:lnTo>
                  <a:lnTo>
                    <a:pt x="3011" y="891"/>
                  </a:lnTo>
                  <a:cubicBezTo>
                    <a:pt x="3010" y="889"/>
                    <a:pt x="3009" y="887"/>
                    <a:pt x="3009" y="885"/>
                  </a:cubicBezTo>
                  <a:lnTo>
                    <a:pt x="3009" y="885"/>
                  </a:lnTo>
                  <a:cubicBezTo>
                    <a:pt x="3007" y="866"/>
                    <a:pt x="3011" y="846"/>
                    <a:pt x="3020" y="829"/>
                  </a:cubicBezTo>
                  <a:lnTo>
                    <a:pt x="3020" y="829"/>
                  </a:lnTo>
                  <a:cubicBezTo>
                    <a:pt x="3036" y="798"/>
                    <a:pt x="3068" y="778"/>
                    <a:pt x="3103" y="776"/>
                  </a:cubicBezTo>
                  <a:lnTo>
                    <a:pt x="3103" y="776"/>
                  </a:lnTo>
                  <a:cubicBezTo>
                    <a:pt x="3176" y="770"/>
                    <a:pt x="3244" y="754"/>
                    <a:pt x="3284" y="730"/>
                  </a:cubicBezTo>
                  <a:lnTo>
                    <a:pt x="3284" y="730"/>
                  </a:lnTo>
                  <a:cubicBezTo>
                    <a:pt x="3287" y="729"/>
                    <a:pt x="3289" y="727"/>
                    <a:pt x="3292" y="726"/>
                  </a:cubicBezTo>
                  <a:lnTo>
                    <a:pt x="3292" y="726"/>
                  </a:lnTo>
                  <a:cubicBezTo>
                    <a:pt x="3315" y="711"/>
                    <a:pt x="3333" y="692"/>
                    <a:pt x="3346" y="670"/>
                  </a:cubicBezTo>
                  <a:lnTo>
                    <a:pt x="3346" y="670"/>
                  </a:lnTo>
                  <a:cubicBezTo>
                    <a:pt x="3347" y="669"/>
                    <a:pt x="3348" y="667"/>
                    <a:pt x="3349" y="665"/>
                  </a:cubicBezTo>
                  <a:lnTo>
                    <a:pt x="3352" y="658"/>
                  </a:lnTo>
                  <a:lnTo>
                    <a:pt x="3352" y="658"/>
                  </a:lnTo>
                  <a:cubicBezTo>
                    <a:pt x="3352" y="657"/>
                    <a:pt x="3353" y="655"/>
                    <a:pt x="3354" y="654"/>
                  </a:cubicBezTo>
                  <a:lnTo>
                    <a:pt x="3369" y="659"/>
                  </a:lnTo>
                  <a:lnTo>
                    <a:pt x="3354" y="653"/>
                  </a:lnTo>
                  <a:lnTo>
                    <a:pt x="3354" y="653"/>
                  </a:lnTo>
                  <a:cubicBezTo>
                    <a:pt x="3359" y="642"/>
                    <a:pt x="3362" y="632"/>
                    <a:pt x="3363" y="621"/>
                  </a:cubicBezTo>
                  <a:lnTo>
                    <a:pt x="3363" y="621"/>
                  </a:lnTo>
                  <a:cubicBezTo>
                    <a:pt x="3370" y="576"/>
                    <a:pt x="3359" y="525"/>
                    <a:pt x="3330" y="476"/>
                  </a:cubicBezTo>
                  <a:lnTo>
                    <a:pt x="3330" y="476"/>
                  </a:lnTo>
                  <a:cubicBezTo>
                    <a:pt x="3299" y="421"/>
                    <a:pt x="3257" y="385"/>
                    <a:pt x="3210" y="371"/>
                  </a:cubicBezTo>
                  <a:lnTo>
                    <a:pt x="3210" y="371"/>
                  </a:lnTo>
                  <a:cubicBezTo>
                    <a:pt x="3186" y="365"/>
                    <a:pt x="3162" y="364"/>
                    <a:pt x="3137" y="370"/>
                  </a:cubicBezTo>
                  <a:lnTo>
                    <a:pt x="3137" y="370"/>
                  </a:lnTo>
                  <a:cubicBezTo>
                    <a:pt x="3120" y="373"/>
                    <a:pt x="3103" y="380"/>
                    <a:pt x="3087" y="389"/>
                  </a:cubicBezTo>
                  <a:lnTo>
                    <a:pt x="3087" y="389"/>
                  </a:lnTo>
                  <a:cubicBezTo>
                    <a:pt x="3048" y="412"/>
                    <a:pt x="3000" y="463"/>
                    <a:pt x="2959" y="526"/>
                  </a:cubicBezTo>
                  <a:lnTo>
                    <a:pt x="2959" y="526"/>
                  </a:lnTo>
                  <a:cubicBezTo>
                    <a:pt x="2940" y="555"/>
                    <a:pt x="2908" y="573"/>
                    <a:pt x="2873" y="571"/>
                  </a:cubicBezTo>
                  <a:lnTo>
                    <a:pt x="2873" y="571"/>
                  </a:lnTo>
                  <a:cubicBezTo>
                    <a:pt x="2871" y="571"/>
                    <a:pt x="2869" y="571"/>
                    <a:pt x="2868" y="571"/>
                  </a:cubicBezTo>
                  <a:lnTo>
                    <a:pt x="2866" y="571"/>
                  </a:lnTo>
                  <a:lnTo>
                    <a:pt x="2866" y="571"/>
                  </a:lnTo>
                  <a:cubicBezTo>
                    <a:pt x="2849" y="569"/>
                    <a:pt x="2831" y="563"/>
                    <a:pt x="2817" y="553"/>
                  </a:cubicBezTo>
                  <a:lnTo>
                    <a:pt x="2817" y="553"/>
                  </a:lnTo>
                  <a:cubicBezTo>
                    <a:pt x="2815" y="552"/>
                    <a:pt x="2814" y="550"/>
                    <a:pt x="2813" y="548"/>
                  </a:cubicBezTo>
                  <a:lnTo>
                    <a:pt x="2496" y="0"/>
                  </a:lnTo>
                  <a:lnTo>
                    <a:pt x="834" y="0"/>
                  </a:lnTo>
                  <a:lnTo>
                    <a:pt x="522" y="541"/>
                  </a:lnTo>
                  <a:lnTo>
                    <a:pt x="522" y="541"/>
                  </a:lnTo>
                  <a:cubicBezTo>
                    <a:pt x="521" y="553"/>
                    <a:pt x="523" y="565"/>
                    <a:pt x="530" y="576"/>
                  </a:cubicBezTo>
                  <a:lnTo>
                    <a:pt x="530" y="576"/>
                  </a:lnTo>
                  <a:cubicBezTo>
                    <a:pt x="541" y="598"/>
                    <a:pt x="563" y="612"/>
                    <a:pt x="587" y="614"/>
                  </a:cubicBezTo>
                  <a:lnTo>
                    <a:pt x="587" y="614"/>
                  </a:lnTo>
                  <a:cubicBezTo>
                    <a:pt x="665" y="619"/>
                    <a:pt x="738" y="637"/>
                    <a:pt x="781" y="663"/>
                  </a:cubicBezTo>
                  <a:lnTo>
                    <a:pt x="781" y="663"/>
                  </a:lnTo>
                  <a:cubicBezTo>
                    <a:pt x="785" y="664"/>
                    <a:pt x="788" y="667"/>
                    <a:pt x="791" y="669"/>
                  </a:cubicBezTo>
                  <a:lnTo>
                    <a:pt x="791" y="669"/>
                  </a:lnTo>
                  <a:cubicBezTo>
                    <a:pt x="810" y="681"/>
                    <a:pt x="826" y="695"/>
                    <a:pt x="839" y="711"/>
                  </a:cubicBezTo>
                  <a:lnTo>
                    <a:pt x="839" y="711"/>
                  </a:lnTo>
                  <a:cubicBezTo>
                    <a:pt x="858" y="733"/>
                    <a:pt x="871" y="758"/>
                    <a:pt x="878" y="786"/>
                  </a:cubicBezTo>
                  <a:lnTo>
                    <a:pt x="878" y="786"/>
                  </a:lnTo>
                  <a:cubicBezTo>
                    <a:pt x="892" y="842"/>
                    <a:pt x="881" y="905"/>
                    <a:pt x="844" y="968"/>
                  </a:cubicBezTo>
                </a:path>
              </a:pathLst>
            </a:custGeom>
            <a:solidFill>
              <a:schemeClr val="accent6"/>
            </a:solidFill>
            <a:ln>
              <a:noFill/>
            </a:ln>
            <a:effectLst/>
          </p:spPr>
          <p:txBody>
            <a:bodyPr wrap="none"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dirty="0">
                <a:ln>
                  <a:noFill/>
                </a:ln>
                <a:solidFill>
                  <a:srgbClr val="181818"/>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7" name="TextBox 16">
              <a:extLst>
                <a:ext uri="{FF2B5EF4-FFF2-40B4-BE49-F238E27FC236}">
                  <a16:creationId xmlns:a16="http://schemas.microsoft.com/office/drawing/2014/main" id="{050CE2F2-DD54-6D48-81CE-EC4C03074D75}"/>
                </a:ext>
              </a:extLst>
            </p:cNvPr>
            <p:cNvSpPr txBox="1"/>
            <p:nvPr/>
          </p:nvSpPr>
          <p:spPr>
            <a:xfrm>
              <a:off x="946263" y="3278144"/>
              <a:ext cx="729482" cy="1063506"/>
            </a:xfrm>
            <a:prstGeom prst="rect">
              <a:avLst/>
            </a:prstGeom>
            <a:noFill/>
          </p:spPr>
          <p:txBody>
            <a:bodyPr wrap="none" rtlCol="0" anchor="ctr">
              <a:spAutoFit/>
            </a:bodyPr>
            <a:lstStyle/>
            <a:p>
              <a:pPr marL="0" marR="0" lvl="0" indent="0" algn="ctr" defTabSz="4572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A</a:t>
              </a:r>
            </a:p>
          </p:txBody>
        </p:sp>
        <p:sp>
          <p:nvSpPr>
            <p:cNvPr id="18" name="TextBox 17">
              <a:extLst>
                <a:ext uri="{FF2B5EF4-FFF2-40B4-BE49-F238E27FC236}">
                  <a16:creationId xmlns:a16="http://schemas.microsoft.com/office/drawing/2014/main" id="{8ABE79F7-8E01-574B-AB1A-0DD75FA44381}"/>
                </a:ext>
              </a:extLst>
            </p:cNvPr>
            <p:cNvSpPr txBox="1"/>
            <p:nvPr/>
          </p:nvSpPr>
          <p:spPr>
            <a:xfrm>
              <a:off x="2541748" y="2321834"/>
              <a:ext cx="716054" cy="1063506"/>
            </a:xfrm>
            <a:prstGeom prst="rect">
              <a:avLst/>
            </a:prstGeom>
            <a:noFill/>
          </p:spPr>
          <p:txBody>
            <a:bodyPr wrap="none" rtlCol="0" anchor="ctr">
              <a:spAutoFit/>
            </a:bodyPr>
            <a:lstStyle/>
            <a:p>
              <a:pPr marL="0" marR="0" lvl="0" indent="0" algn="ctr" defTabSz="4572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B</a:t>
              </a:r>
            </a:p>
          </p:txBody>
        </p:sp>
        <p:sp>
          <p:nvSpPr>
            <p:cNvPr id="19" name="TextBox 18">
              <a:extLst>
                <a:ext uri="{FF2B5EF4-FFF2-40B4-BE49-F238E27FC236}">
                  <a16:creationId xmlns:a16="http://schemas.microsoft.com/office/drawing/2014/main" id="{A2792774-58AA-9041-BB45-4D5F9A834C26}"/>
                </a:ext>
              </a:extLst>
            </p:cNvPr>
            <p:cNvSpPr txBox="1"/>
            <p:nvPr/>
          </p:nvSpPr>
          <p:spPr>
            <a:xfrm>
              <a:off x="4146460" y="3278144"/>
              <a:ext cx="687520" cy="1063506"/>
            </a:xfrm>
            <a:prstGeom prst="rect">
              <a:avLst/>
            </a:prstGeom>
            <a:noFill/>
          </p:spPr>
          <p:txBody>
            <a:bodyPr wrap="none" rtlCol="0" anchor="ctr">
              <a:spAutoFit/>
            </a:bodyPr>
            <a:lstStyle/>
            <a:p>
              <a:pPr marL="0" marR="0" lvl="0" indent="0" algn="ctr" defTabSz="4572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a:t>
              </a:r>
            </a:p>
          </p:txBody>
        </p:sp>
        <p:sp>
          <p:nvSpPr>
            <p:cNvPr id="20" name="TextBox 19">
              <a:extLst>
                <a:ext uri="{FF2B5EF4-FFF2-40B4-BE49-F238E27FC236}">
                  <a16:creationId xmlns:a16="http://schemas.microsoft.com/office/drawing/2014/main" id="{69C3B041-AEFA-1944-A0DB-4CA536AB4CFB}"/>
                </a:ext>
              </a:extLst>
            </p:cNvPr>
            <p:cNvSpPr txBox="1"/>
            <p:nvPr/>
          </p:nvSpPr>
          <p:spPr>
            <a:xfrm>
              <a:off x="5631043" y="2321834"/>
              <a:ext cx="769767" cy="1063506"/>
            </a:xfrm>
            <a:prstGeom prst="rect">
              <a:avLst/>
            </a:prstGeom>
            <a:noFill/>
          </p:spPr>
          <p:txBody>
            <a:bodyPr wrap="none" rtlCol="0" anchor="ctr">
              <a:spAutoFit/>
            </a:bodyPr>
            <a:lstStyle/>
            <a:p>
              <a:pPr marL="0" marR="0" lvl="0" indent="0" algn="ctr" defTabSz="4572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D</a:t>
              </a:r>
            </a:p>
          </p:txBody>
        </p:sp>
        <p:sp>
          <p:nvSpPr>
            <p:cNvPr id="21" name="TextBox 20">
              <a:extLst>
                <a:ext uri="{FF2B5EF4-FFF2-40B4-BE49-F238E27FC236}">
                  <a16:creationId xmlns:a16="http://schemas.microsoft.com/office/drawing/2014/main" id="{82BE4122-CE23-2F45-9118-7F461E176E62}"/>
                </a:ext>
              </a:extLst>
            </p:cNvPr>
            <p:cNvSpPr txBox="1"/>
            <p:nvPr/>
          </p:nvSpPr>
          <p:spPr>
            <a:xfrm>
              <a:off x="7249957" y="3278144"/>
              <a:ext cx="625414" cy="1063506"/>
            </a:xfrm>
            <a:prstGeom prst="rect">
              <a:avLst/>
            </a:prstGeom>
            <a:noFill/>
          </p:spPr>
          <p:txBody>
            <a:bodyPr wrap="none" rtlCol="0" anchor="ctr">
              <a:spAutoFit/>
            </a:bodyPr>
            <a:lstStyle/>
            <a:p>
              <a:pPr marL="0" marR="0" lvl="0" indent="0" algn="ctr" defTabSz="457200" rtl="0" eaLnBrk="1" fontAlgn="auto" latinLnBrk="0" hangingPunct="1">
                <a:lnSpc>
                  <a:spcPts val="7200"/>
                </a:lnSpc>
                <a:spcBef>
                  <a:spcPts val="0"/>
                </a:spcBef>
                <a:spcAft>
                  <a:spcPts val="0"/>
                </a:spcAft>
                <a:buClrTx/>
                <a:buSzTx/>
                <a:buFontTx/>
                <a:buNone/>
                <a:tabLst/>
                <a:defRPr/>
              </a:pPr>
              <a:r>
                <a:rPr kumimoji="0" lang="en-US" sz="6000" b="1" i="0" u="none" strike="noStrike" kern="1200" cap="none" spc="-145"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E</a:t>
              </a:r>
            </a:p>
          </p:txBody>
        </p:sp>
      </p:grpSp>
      <p:pic>
        <p:nvPicPr>
          <p:cNvPr id="32" name="Graphic 31" descr="Checklist outline">
            <a:extLst>
              <a:ext uri="{FF2B5EF4-FFF2-40B4-BE49-F238E27FC236}">
                <a16:creationId xmlns:a16="http://schemas.microsoft.com/office/drawing/2014/main" id="{AE006ABC-245A-4674-89FE-90F57775155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9860003" y="870032"/>
            <a:ext cx="701593" cy="701593"/>
          </a:xfrm>
          <a:prstGeom prst="rect">
            <a:avLst/>
          </a:prstGeom>
        </p:spPr>
      </p:pic>
      <p:sp>
        <p:nvSpPr>
          <p:cNvPr id="3" name="Text Placeholder 2">
            <a:extLst>
              <a:ext uri="{FF2B5EF4-FFF2-40B4-BE49-F238E27FC236}">
                <a16:creationId xmlns:a16="http://schemas.microsoft.com/office/drawing/2014/main" id="{5D77A0E1-0221-46C4-9CD9-E148606285EE}"/>
              </a:ext>
            </a:extLst>
          </p:cNvPr>
          <p:cNvSpPr>
            <a:spLocks noGrp="1"/>
          </p:cNvSpPr>
          <p:nvPr>
            <p:ph type="body" sz="quarter" idx="10"/>
          </p:nvPr>
        </p:nvSpPr>
        <p:spPr>
          <a:xfrm>
            <a:off x="8610600" y="2392358"/>
            <a:ext cx="3200400" cy="854075"/>
          </a:xfrm>
        </p:spPr>
        <p:txBody>
          <a:bodyPr/>
          <a:lstStyle/>
          <a:p>
            <a:r>
              <a:rPr kumimoji="0" lang="en-US" sz="3200" b="0" i="0" u="none" strike="noStrike" kern="1200" cap="none" spc="0" normalizeH="0" baseline="0" noProof="0" dirty="0">
                <a:ln>
                  <a:noFill/>
                </a:ln>
                <a:solidFill>
                  <a:schemeClr val="accent2"/>
                </a:solidFill>
                <a:effectLst/>
                <a:uLnTx/>
                <a:uFillTx/>
                <a:latin typeface="Open Sans" panose="020B0606030504020204" pitchFamily="34" charset="0"/>
                <a:ea typeface="Open Sans" panose="020B0606030504020204" pitchFamily="34" charset="0"/>
                <a:cs typeface="Open Sans" panose="020B0606030504020204" pitchFamily="34" charset="0"/>
              </a:rPr>
              <a:t>5</a:t>
            </a:r>
          </a:p>
          <a:p>
            <a:r>
              <a:rPr lang="en-US" sz="2400" dirty="0"/>
              <a:t>PRIMARY COMPONENTS OF THE SEC CYBERSECURITY DISCLOSURE RULES</a:t>
            </a:r>
          </a:p>
        </p:txBody>
      </p:sp>
    </p:spTree>
    <p:extLst>
      <p:ext uri="{BB962C8B-B14F-4D97-AF65-F5344CB8AC3E}">
        <p14:creationId xmlns:p14="http://schemas.microsoft.com/office/powerpoint/2010/main" val="29144225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C1BE69-A0D2-9220-8B6C-A7E70DE90CC7}"/>
              </a:ext>
            </a:extLst>
          </p:cNvPr>
          <p:cNvSpPr>
            <a:spLocks noGrp="1"/>
          </p:cNvSpPr>
          <p:nvPr>
            <p:ph type="body" sz="quarter" idx="10"/>
          </p:nvPr>
        </p:nvSpPr>
        <p:spPr>
          <a:xfrm>
            <a:off x="171039" y="2574925"/>
            <a:ext cx="3526031" cy="854075"/>
          </a:xfrm>
        </p:spPr>
        <p:txBody>
          <a:bodyPr/>
          <a:lstStyle/>
          <a:p>
            <a:r>
              <a:rPr lang="en-US" sz="3200" dirty="0"/>
              <a:t>FTC BREACH REPORTING REQUIREMENTS FOR NON-BANKS</a:t>
            </a:r>
          </a:p>
        </p:txBody>
      </p:sp>
      <p:sp>
        <p:nvSpPr>
          <p:cNvPr id="26" name="Text Placeholder 25">
            <a:extLst>
              <a:ext uri="{FF2B5EF4-FFF2-40B4-BE49-F238E27FC236}">
                <a16:creationId xmlns:a16="http://schemas.microsoft.com/office/drawing/2014/main" id="{DC50A571-BBC3-1257-8EB0-E09CCEBD6493}"/>
              </a:ext>
            </a:extLst>
          </p:cNvPr>
          <p:cNvSpPr>
            <a:spLocks noGrp="1"/>
          </p:cNvSpPr>
          <p:nvPr>
            <p:ph type="body" sz="quarter" idx="61"/>
          </p:nvPr>
        </p:nvSpPr>
        <p:spPr>
          <a:xfrm>
            <a:off x="4657725" y="342900"/>
            <a:ext cx="7153275" cy="5772150"/>
          </a:xfrm>
        </p:spPr>
        <p:txBody>
          <a:bodyPr>
            <a:normAutofit lnSpcReduction="10000"/>
          </a:body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dirty="0">
                <a:solidFill>
                  <a:srgbClr val="057091"/>
                </a:solidFill>
                <a:ea typeface="+mn-ea"/>
                <a:cs typeface="Poppins" panose="00000500000000000000" pitchFamily="2" charset="0"/>
              </a:rPr>
              <a:t>FTC’s new breach reporting requirements for non-banks </a:t>
            </a:r>
            <a:r>
              <a:rPr lang="en-US" dirty="0">
                <a:solidFill>
                  <a:schemeClr val="accent1"/>
                </a:solidFill>
                <a:ea typeface="+mn-ea"/>
                <a:cs typeface="Poppins" panose="00000500000000000000" pitchFamily="2" charset="0"/>
              </a:rPr>
              <a:t>went into effect in May</a:t>
            </a:r>
            <a:r>
              <a:rPr lang="en-US" dirty="0">
                <a:solidFill>
                  <a:srgbClr val="057091"/>
                </a:solidFill>
                <a:ea typeface="+mn-ea"/>
                <a:cs typeface="Poppins" panose="00000500000000000000" pitchFamily="2" charset="0"/>
              </a:rPr>
              <a:t>.  </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dirty="0">
              <a:solidFill>
                <a:srgbClr val="057091"/>
              </a:solidFill>
              <a:ea typeface="+mn-ea"/>
              <a:cs typeface="Poppins" panose="00000500000000000000" pitchFamily="2" charset="0"/>
            </a:endParaRP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dirty="0">
              <a:solidFill>
                <a:srgbClr val="057091"/>
              </a:solidFill>
              <a:ea typeface="+mn-ea"/>
              <a:cs typeface="Poppins" panose="00000500000000000000" pitchFamily="2" charset="0"/>
            </a:endParaRP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b="1" dirty="0">
                <a:solidFill>
                  <a:srgbClr val="057091"/>
                </a:solidFill>
                <a:ea typeface="+mn-ea"/>
                <a:cs typeface="Poppins" panose="00000500000000000000" pitchFamily="2" charset="0"/>
              </a:rPr>
              <a:t>Application</a:t>
            </a:r>
            <a:r>
              <a:rPr lang="en-US" dirty="0">
                <a:solidFill>
                  <a:srgbClr val="057091"/>
                </a:solidFill>
                <a:ea typeface="+mn-ea"/>
                <a:cs typeface="Poppins" panose="00000500000000000000" pitchFamily="2" charset="0"/>
              </a:rPr>
              <a:t>: Rule applies to </a:t>
            </a:r>
            <a:r>
              <a:rPr lang="en-US" dirty="0">
                <a:solidFill>
                  <a:schemeClr val="accent1"/>
                </a:solidFill>
                <a:ea typeface="+mn-ea"/>
                <a:cs typeface="Poppins" panose="00000500000000000000" pitchFamily="2" charset="0"/>
              </a:rPr>
              <a:t>all non-banking financial institutions </a:t>
            </a:r>
            <a:r>
              <a:rPr lang="en-US" dirty="0">
                <a:solidFill>
                  <a:srgbClr val="057091"/>
                </a:solidFill>
                <a:ea typeface="+mn-ea"/>
                <a:cs typeface="Poppins" panose="00000500000000000000" pitchFamily="2" charset="0"/>
              </a:rPr>
              <a:t>regulated by the FTC</a:t>
            </a:r>
          </a:p>
          <a:p>
            <a:pPr marL="573088" lvl="1" indent="-228600">
              <a:spcBef>
                <a:spcPts val="0"/>
              </a:spcBef>
              <a:buClrTx/>
              <a:buFont typeface="Arial" panose="020B0604020202020204" pitchFamily="34" charset="0"/>
              <a:buChar char="•"/>
              <a:defRPr/>
            </a:pPr>
            <a:r>
              <a:rPr lang="en-US" dirty="0">
                <a:solidFill>
                  <a:srgbClr val="057091"/>
                </a:solidFill>
                <a:ea typeface="+mn-ea"/>
                <a:cs typeface="Poppins" panose="00000500000000000000" pitchFamily="2" charset="0"/>
              </a:rPr>
              <a:t>Includes mortgage brokers, financial planners, credit reporting agencies, tax preparers, etc.</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57091"/>
              </a:solidFill>
              <a:effectLst/>
              <a:uLnTx/>
              <a:uFillTx/>
              <a:ea typeface="+mn-ea"/>
              <a:cs typeface="Poppins" panose="00000500000000000000" pitchFamily="2" charset="0"/>
            </a:endParaRP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b="0" i="0" u="none" strike="noStrike" kern="1200" cap="none" spc="0" normalizeH="0" baseline="0" noProof="0" dirty="0">
              <a:ln>
                <a:noFill/>
              </a:ln>
              <a:solidFill>
                <a:srgbClr val="057091"/>
              </a:solidFill>
              <a:effectLst/>
              <a:uLnTx/>
              <a:uFillTx/>
              <a:ea typeface="+mn-ea"/>
              <a:cs typeface="Poppins" panose="00000500000000000000" pitchFamily="2" charset="0"/>
            </a:endParaRP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b="1" dirty="0">
                <a:solidFill>
                  <a:srgbClr val="057091"/>
                </a:solidFill>
                <a:ea typeface="+mn-ea"/>
                <a:cs typeface="Poppins" panose="00000500000000000000" pitchFamily="2" charset="0"/>
              </a:rPr>
              <a:t>Requirements: </a:t>
            </a:r>
            <a:r>
              <a:rPr lang="en-US" dirty="0">
                <a:solidFill>
                  <a:srgbClr val="057091"/>
                </a:solidFill>
                <a:ea typeface="+mn-ea"/>
                <a:cs typeface="Poppins" panose="00000500000000000000" pitchFamily="2" charset="0"/>
              </a:rPr>
              <a:t>Any “</a:t>
            </a:r>
            <a:r>
              <a:rPr lang="en-US" dirty="0">
                <a:solidFill>
                  <a:schemeClr val="accent1"/>
                </a:solidFill>
                <a:ea typeface="+mn-ea"/>
                <a:cs typeface="Poppins" panose="00000500000000000000" pitchFamily="2" charset="0"/>
              </a:rPr>
              <a:t>notification event</a:t>
            </a:r>
            <a:r>
              <a:rPr lang="en-US" dirty="0">
                <a:solidFill>
                  <a:srgbClr val="057091"/>
                </a:solidFill>
                <a:ea typeface="+mn-ea"/>
                <a:cs typeface="Poppins" panose="00000500000000000000" pitchFamily="2" charset="0"/>
              </a:rPr>
              <a:t>” involving the information of at least </a:t>
            </a:r>
            <a:r>
              <a:rPr lang="en-US" dirty="0">
                <a:solidFill>
                  <a:schemeClr val="accent1"/>
                </a:solidFill>
                <a:ea typeface="+mn-ea"/>
                <a:cs typeface="Poppins" panose="00000500000000000000" pitchFamily="2" charset="0"/>
              </a:rPr>
              <a:t>500 consumers </a:t>
            </a:r>
            <a:r>
              <a:rPr lang="en-US" dirty="0">
                <a:solidFill>
                  <a:srgbClr val="057091"/>
                </a:solidFill>
                <a:ea typeface="+mn-ea"/>
                <a:cs typeface="Poppins" panose="00000500000000000000" pitchFamily="2" charset="0"/>
              </a:rPr>
              <a:t>must be reported to the FTC no later than </a:t>
            </a:r>
            <a:r>
              <a:rPr lang="en-US" dirty="0">
                <a:solidFill>
                  <a:schemeClr val="accent1"/>
                </a:solidFill>
                <a:ea typeface="+mn-ea"/>
                <a:cs typeface="Poppins" panose="00000500000000000000" pitchFamily="2" charset="0"/>
              </a:rPr>
              <a:t>30 days after discovery</a:t>
            </a:r>
            <a:r>
              <a:rPr lang="en-US" dirty="0">
                <a:solidFill>
                  <a:srgbClr val="057091"/>
                </a:solidFill>
                <a:ea typeface="+mn-ea"/>
                <a:cs typeface="Poppins" panose="00000500000000000000" pitchFamily="2" charset="0"/>
              </a:rPr>
              <a:t>.  </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dirty="0">
              <a:solidFill>
                <a:srgbClr val="057091"/>
              </a:solidFill>
              <a:ea typeface="+mn-ea"/>
              <a:cs typeface="Poppins" panose="00000500000000000000" pitchFamily="2" charset="0"/>
            </a:endParaRP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lang="en-US" dirty="0">
              <a:solidFill>
                <a:srgbClr val="057091"/>
              </a:solidFill>
              <a:ea typeface="+mn-ea"/>
              <a:cs typeface="Poppins" panose="00000500000000000000" pitchFamily="2" charset="0"/>
            </a:endParaRP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lang="en-US" b="1" dirty="0">
                <a:solidFill>
                  <a:srgbClr val="057091"/>
                </a:solidFill>
                <a:ea typeface="+mn-ea"/>
                <a:cs typeface="Poppins" panose="00000500000000000000" pitchFamily="2" charset="0"/>
              </a:rPr>
              <a:t>Notification Event</a:t>
            </a:r>
            <a:r>
              <a:rPr lang="en-US" dirty="0">
                <a:solidFill>
                  <a:srgbClr val="057091"/>
                </a:solidFill>
                <a:ea typeface="+mn-ea"/>
                <a:cs typeface="Poppins" panose="00000500000000000000" pitchFamily="2" charset="0"/>
              </a:rPr>
              <a:t>: A </a:t>
            </a:r>
            <a:r>
              <a:rPr lang="en-US" dirty="0">
                <a:solidFill>
                  <a:schemeClr val="accent1"/>
                </a:solidFill>
                <a:ea typeface="+mn-ea"/>
                <a:cs typeface="Poppins" panose="00000500000000000000" pitchFamily="2" charset="0"/>
              </a:rPr>
              <a:t>notification event </a:t>
            </a:r>
            <a:r>
              <a:rPr lang="en-US" dirty="0">
                <a:solidFill>
                  <a:srgbClr val="057091"/>
                </a:solidFill>
                <a:ea typeface="+mn-ea"/>
                <a:cs typeface="Poppins" panose="00000500000000000000" pitchFamily="2" charset="0"/>
              </a:rPr>
              <a:t>means the </a:t>
            </a:r>
            <a:r>
              <a:rPr lang="en-US" dirty="0">
                <a:solidFill>
                  <a:schemeClr val="accent1"/>
                </a:solidFill>
                <a:ea typeface="+mn-ea"/>
                <a:cs typeface="Poppins" panose="00000500000000000000" pitchFamily="2" charset="0"/>
              </a:rPr>
              <a:t>acquisition</a:t>
            </a:r>
            <a:r>
              <a:rPr lang="en-US" dirty="0">
                <a:solidFill>
                  <a:srgbClr val="057091"/>
                </a:solidFill>
                <a:ea typeface="+mn-ea"/>
                <a:cs typeface="Poppins" panose="00000500000000000000" pitchFamily="2" charset="0"/>
              </a:rPr>
              <a:t> of unencrypted customer information without the authorization of the customer.  </a:t>
            </a:r>
          </a:p>
          <a:p>
            <a:pPr marL="573088" lvl="1" indent="-228600">
              <a:spcBef>
                <a:spcPts val="0"/>
              </a:spcBef>
              <a:buClrTx/>
              <a:buFont typeface="Arial" panose="020B0604020202020204" pitchFamily="34" charset="0"/>
              <a:buChar char="•"/>
              <a:defRPr/>
            </a:pPr>
            <a:r>
              <a:rPr lang="en-US" dirty="0">
                <a:solidFill>
                  <a:srgbClr val="057091"/>
                </a:solidFill>
                <a:ea typeface="+mn-ea"/>
                <a:cs typeface="Poppins" panose="00000500000000000000" pitchFamily="2" charset="0"/>
              </a:rPr>
              <a:t>Scope of “customer information” that would trigger notification requirements is </a:t>
            </a:r>
            <a:r>
              <a:rPr lang="en-US" dirty="0">
                <a:solidFill>
                  <a:schemeClr val="accent1"/>
                </a:solidFill>
                <a:ea typeface="+mn-ea"/>
                <a:cs typeface="Poppins" panose="00000500000000000000" pitchFamily="2" charset="0"/>
              </a:rPr>
              <a:t>broader than standard state notification laws</a:t>
            </a:r>
            <a:r>
              <a:rPr lang="en-US" dirty="0">
                <a:solidFill>
                  <a:srgbClr val="057091"/>
                </a:solidFill>
                <a:ea typeface="+mn-ea"/>
                <a:cs typeface="Poppins" panose="00000500000000000000" pitchFamily="2" charset="0"/>
              </a:rPr>
              <a:t>.</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dirty="0">
              <a:ln>
                <a:noFill/>
              </a:ln>
              <a:solidFill>
                <a:srgbClr val="057091"/>
              </a:solidFill>
              <a:effectLst/>
              <a:uLnTx/>
              <a:uFillTx/>
              <a:latin typeface="Poppins" panose="00000500000000000000" pitchFamily="2" charset="0"/>
              <a:ea typeface="+mn-ea"/>
              <a:cs typeface="Poppins" panose="00000500000000000000" pitchFamily="2" charset="0"/>
            </a:endParaRPr>
          </a:p>
          <a:p>
            <a:endParaRPr lang="en-US" dirty="0">
              <a:solidFill>
                <a:schemeClr val="accent5"/>
              </a:solidFill>
            </a:endParaRPr>
          </a:p>
          <a:p>
            <a:pPr lvl="1"/>
            <a:endParaRPr lang="en-US" dirty="0"/>
          </a:p>
        </p:txBody>
      </p:sp>
    </p:spTree>
    <p:extLst>
      <p:ext uri="{BB962C8B-B14F-4D97-AF65-F5344CB8AC3E}">
        <p14:creationId xmlns:p14="http://schemas.microsoft.com/office/powerpoint/2010/main" val="26001282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5DE6BB4C-48B7-4F61-B98A-3FCF46E83B4F}"/>
              </a:ext>
            </a:extLst>
          </p:cNvPr>
          <p:cNvSpPr>
            <a:spLocks noGrp="1"/>
          </p:cNvSpPr>
          <p:nvPr>
            <p:ph type="body" sz="quarter" idx="12"/>
          </p:nvPr>
        </p:nvSpPr>
        <p:spPr>
          <a:xfrm>
            <a:off x="467832" y="5018567"/>
            <a:ext cx="11343167" cy="1200261"/>
          </a:xfrm>
        </p:spPr>
        <p:txBody>
          <a:bodyPr/>
          <a:lstStyle/>
          <a:p>
            <a:pPr algn="ctr"/>
            <a:r>
              <a:rPr kumimoji="0" lang="en-US" sz="3200" b="0" i="0" u="none" strike="noStrike" kern="120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Right now, there may be no greater risk to organizations than cyber </a:t>
            </a:r>
            <a:r>
              <a:rPr kumimoji="0" lang="en-US" sz="3200" b="0" i="1" u="none" strike="noStrike" kern="120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in</a:t>
            </a:r>
            <a:r>
              <a:rPr kumimoji="0" lang="en-US" sz="3200" b="0" i="0" u="none" strike="noStrike" kern="120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security</a:t>
            </a:r>
          </a:p>
        </p:txBody>
      </p:sp>
      <p:pic>
        <p:nvPicPr>
          <p:cNvPr id="2" name="Picture 1">
            <a:extLst>
              <a:ext uri="{FF2B5EF4-FFF2-40B4-BE49-F238E27FC236}">
                <a16:creationId xmlns:a16="http://schemas.microsoft.com/office/drawing/2014/main" id="{1E47FCAD-4832-383A-160E-56C82018C0D1}"/>
              </a:ext>
            </a:extLst>
          </p:cNvPr>
          <p:cNvPicPr>
            <a:picLocks noChangeAspect="1"/>
          </p:cNvPicPr>
          <p:nvPr/>
        </p:nvPicPr>
        <p:blipFill>
          <a:blip r:embed="rId3"/>
          <a:stretch>
            <a:fillRect/>
          </a:stretch>
        </p:blipFill>
        <p:spPr>
          <a:xfrm>
            <a:off x="2147351" y="271392"/>
            <a:ext cx="7897298" cy="4651482"/>
          </a:xfrm>
          <a:prstGeom prst="rect">
            <a:avLst/>
          </a:prstGeom>
        </p:spPr>
      </p:pic>
    </p:spTree>
    <p:extLst>
      <p:ext uri="{BB962C8B-B14F-4D97-AF65-F5344CB8AC3E}">
        <p14:creationId xmlns:p14="http://schemas.microsoft.com/office/powerpoint/2010/main" val="45300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99AD04-1042-7316-6E57-E74BA9D5FED2}"/>
              </a:ext>
            </a:extLst>
          </p:cNvPr>
          <p:cNvSpPr>
            <a:spLocks noGrp="1"/>
          </p:cNvSpPr>
          <p:nvPr>
            <p:ph sz="quarter" idx="18"/>
          </p:nvPr>
        </p:nvSpPr>
        <p:spPr/>
        <p:txBody>
          <a:bodyPr/>
          <a:lstStyle/>
          <a:p>
            <a:pPr>
              <a:lnSpc>
                <a:spcPct val="100000"/>
              </a:lnSpc>
              <a:spcBef>
                <a:spcPts val="300"/>
              </a:spcBef>
            </a:pPr>
            <a:r>
              <a:rPr lang="en-US" sz="1800" b="1" dirty="0">
                <a:solidFill>
                  <a:schemeClr val="accent5"/>
                </a:solidFill>
              </a:rPr>
              <a:t>Notice of Proposed Rulemaking: </a:t>
            </a:r>
            <a:r>
              <a:rPr lang="en-US" sz="1800" dirty="0"/>
              <a:t>U.S. Department of Health and Human Services (HHS) issued its official Notice of Proposed Rulemaking to update the HIPAA Security Rule on January 6, 2025.  </a:t>
            </a:r>
          </a:p>
          <a:p>
            <a:pPr lvl="1">
              <a:lnSpc>
                <a:spcPct val="100000"/>
              </a:lnSpc>
              <a:spcBef>
                <a:spcPts val="300"/>
              </a:spcBef>
            </a:pPr>
            <a:r>
              <a:rPr lang="en-US" sz="1800" dirty="0"/>
              <a:t>This is the first update in a decade</a:t>
            </a:r>
          </a:p>
          <a:p>
            <a:pPr>
              <a:lnSpc>
                <a:spcPct val="100000"/>
              </a:lnSpc>
              <a:spcBef>
                <a:spcPts val="300"/>
              </a:spcBef>
            </a:pPr>
            <a:r>
              <a:rPr lang="en-US" sz="1800" b="1" dirty="0">
                <a:solidFill>
                  <a:schemeClr val="accent5"/>
                </a:solidFill>
              </a:rPr>
              <a:t>More Requirements: </a:t>
            </a:r>
            <a:r>
              <a:rPr lang="en-US" sz="1800" dirty="0"/>
              <a:t>The proposed updates are intended to bring specificity to requirements for electronic protected health information (ePHI) and to better align with the NIST Cybersecurity Framework.  </a:t>
            </a:r>
          </a:p>
          <a:p>
            <a:pPr lvl="1">
              <a:lnSpc>
                <a:spcPct val="100000"/>
              </a:lnSpc>
              <a:spcBef>
                <a:spcPts val="300"/>
              </a:spcBef>
            </a:pPr>
            <a:r>
              <a:rPr lang="en-US" sz="1800" dirty="0"/>
              <a:t>Removes distinction between “required” and “addressable” implementation specifications and makes all specifications required with specific, limited exemptions.  </a:t>
            </a:r>
          </a:p>
          <a:p>
            <a:pPr lvl="1">
              <a:lnSpc>
                <a:spcPct val="100000"/>
              </a:lnSpc>
              <a:spcBef>
                <a:spcPts val="300"/>
              </a:spcBef>
            </a:pPr>
            <a:r>
              <a:rPr lang="en-US" sz="1800" dirty="0"/>
              <a:t>New standards to address asset inventory, compliance audits, patch managements, encryption/decryption, configuration management, data backups, etc.  </a:t>
            </a:r>
          </a:p>
          <a:p>
            <a:pPr>
              <a:lnSpc>
                <a:spcPct val="100000"/>
              </a:lnSpc>
              <a:spcBef>
                <a:spcPts val="300"/>
              </a:spcBef>
            </a:pPr>
            <a:r>
              <a:rPr lang="en-US" sz="1800" b="1" dirty="0">
                <a:solidFill>
                  <a:schemeClr val="accent5"/>
                </a:solidFill>
              </a:rPr>
              <a:t>Written Documentation: </a:t>
            </a:r>
            <a:r>
              <a:rPr lang="en-US" sz="1800" dirty="0"/>
              <a:t>Specifies requirement for written documentation for all Security Rule policies and procedures.</a:t>
            </a:r>
          </a:p>
          <a:p>
            <a:pPr lvl="1">
              <a:lnSpc>
                <a:spcPct val="100000"/>
              </a:lnSpc>
              <a:spcBef>
                <a:spcPts val="300"/>
              </a:spcBef>
            </a:pPr>
            <a:r>
              <a:rPr lang="en-US" sz="1800" dirty="0"/>
              <a:t>Additional requirement to review/update/verify policies at least once every 12 months</a:t>
            </a:r>
          </a:p>
          <a:p>
            <a:pPr>
              <a:lnSpc>
                <a:spcPct val="100000"/>
              </a:lnSpc>
              <a:spcBef>
                <a:spcPts val="300"/>
              </a:spcBef>
            </a:pPr>
            <a:r>
              <a:rPr lang="en-US" sz="1800" b="1" dirty="0">
                <a:solidFill>
                  <a:schemeClr val="accent5"/>
                </a:solidFill>
              </a:rPr>
              <a:t>Next Steps: </a:t>
            </a:r>
            <a:r>
              <a:rPr lang="en-US" sz="1800" dirty="0"/>
              <a:t>Comment period ends on March 7, 2025.</a:t>
            </a:r>
          </a:p>
        </p:txBody>
      </p:sp>
      <p:sp>
        <p:nvSpPr>
          <p:cNvPr id="3" name="Text Placeholder 2">
            <a:extLst>
              <a:ext uri="{FF2B5EF4-FFF2-40B4-BE49-F238E27FC236}">
                <a16:creationId xmlns:a16="http://schemas.microsoft.com/office/drawing/2014/main" id="{C24880C3-1D9F-C2C1-C2ED-04F69C4E8801}"/>
              </a:ext>
            </a:extLst>
          </p:cNvPr>
          <p:cNvSpPr>
            <a:spLocks noGrp="1"/>
          </p:cNvSpPr>
          <p:nvPr>
            <p:ph type="body" sz="quarter" idx="15"/>
          </p:nvPr>
        </p:nvSpPr>
        <p:spPr/>
        <p:txBody>
          <a:bodyPr/>
          <a:lstStyle/>
          <a:p>
            <a:r>
              <a:rPr lang="en-US" dirty="0"/>
              <a:t>PROPOSED HIPAA SECURITY RULE UPDATES</a:t>
            </a:r>
          </a:p>
        </p:txBody>
      </p:sp>
      <p:sp>
        <p:nvSpPr>
          <p:cNvPr id="4" name="Text Placeholder 3">
            <a:extLst>
              <a:ext uri="{FF2B5EF4-FFF2-40B4-BE49-F238E27FC236}">
                <a16:creationId xmlns:a16="http://schemas.microsoft.com/office/drawing/2014/main" id="{9C6A7B86-EAD2-7C69-CF44-677E55374546}"/>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219137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13F8E8A-14E7-5B0C-D017-35DECC571596}"/>
              </a:ext>
            </a:extLst>
          </p:cNvPr>
          <p:cNvSpPr>
            <a:spLocks noGrp="1"/>
          </p:cNvSpPr>
          <p:nvPr>
            <p:ph sz="quarter" idx="18"/>
          </p:nvPr>
        </p:nvSpPr>
        <p:spPr/>
        <p:txBody>
          <a:bodyPr/>
          <a:lstStyle/>
          <a:p>
            <a:r>
              <a:rPr lang="en-US" b="1" dirty="0">
                <a:solidFill>
                  <a:schemeClr val="accent5"/>
                </a:solidFill>
              </a:rPr>
              <a:t>December 2024: </a:t>
            </a:r>
            <a:r>
              <a:rPr lang="en-US" dirty="0"/>
              <a:t>U.S. Department of Housing and Urban Development (HUD) issued Revised Cyber Incident Reporting Requirements.</a:t>
            </a:r>
          </a:p>
          <a:p>
            <a:pPr lvl="1"/>
            <a:r>
              <a:rPr lang="en-US" dirty="0"/>
              <a:t>This was in response to initial rule in May that was </a:t>
            </a:r>
            <a:r>
              <a:rPr lang="en-US" dirty="0">
                <a:solidFill>
                  <a:schemeClr val="accent1"/>
                </a:solidFill>
              </a:rPr>
              <a:t>sharply criticized </a:t>
            </a:r>
            <a:r>
              <a:rPr lang="en-US" dirty="0"/>
              <a:t>by the banking and housing industries and aligns more with requirements of FHA and bank regulators.</a:t>
            </a:r>
          </a:p>
          <a:p>
            <a:r>
              <a:rPr lang="en-US" b="1" dirty="0">
                <a:solidFill>
                  <a:schemeClr val="accent5"/>
                </a:solidFill>
              </a:rPr>
              <a:t>Timing: </a:t>
            </a:r>
            <a:r>
              <a:rPr lang="en-US" dirty="0"/>
              <a:t>FHA-approved mortgagees must notify HUD no later than </a:t>
            </a:r>
            <a:r>
              <a:rPr lang="en-US" dirty="0">
                <a:solidFill>
                  <a:schemeClr val="accent1"/>
                </a:solidFill>
              </a:rPr>
              <a:t>36 hours </a:t>
            </a:r>
            <a:r>
              <a:rPr lang="en-US" dirty="0"/>
              <a:t>after determining that a “Reportable Cyber Incident” has occurred.  </a:t>
            </a:r>
          </a:p>
          <a:p>
            <a:r>
              <a:rPr lang="en-US" b="1" dirty="0">
                <a:solidFill>
                  <a:schemeClr val="accent5"/>
                </a:solidFill>
              </a:rPr>
              <a:t>“Reportable Cyber Incident” </a:t>
            </a:r>
            <a:r>
              <a:rPr lang="en-US" dirty="0"/>
              <a:t>is an incident that has or is reasonably likely to “</a:t>
            </a:r>
            <a:r>
              <a:rPr lang="en-US" dirty="0">
                <a:solidFill>
                  <a:schemeClr val="accent1"/>
                </a:solidFill>
              </a:rPr>
              <a:t>materially disrupt or degrade</a:t>
            </a:r>
            <a:r>
              <a:rPr lang="en-US" dirty="0"/>
              <a:t>” the mortgagee’s ability to meet its obligations for originating or servicing FHA-insured mortgages.</a:t>
            </a:r>
          </a:p>
          <a:p>
            <a:pPr lvl="1"/>
            <a:r>
              <a:rPr lang="en-US" dirty="0"/>
              <a:t>Incident must result in </a:t>
            </a:r>
            <a:r>
              <a:rPr lang="en-US" dirty="0">
                <a:solidFill>
                  <a:schemeClr val="accent1"/>
                </a:solidFill>
              </a:rPr>
              <a:t>actual harm </a:t>
            </a:r>
            <a:r>
              <a:rPr lang="en-US" dirty="0"/>
              <a:t>to an information system or the information that the system processes, stores, or transmits.</a:t>
            </a:r>
          </a:p>
          <a:p>
            <a:r>
              <a:rPr lang="en-US" b="1" dirty="0">
                <a:solidFill>
                  <a:schemeClr val="accent5"/>
                </a:solidFill>
              </a:rPr>
              <a:t>Reporting Requirements: </a:t>
            </a:r>
            <a:r>
              <a:rPr lang="en-US" dirty="0"/>
              <a:t>Information required is more detailed than other rules</a:t>
            </a:r>
          </a:p>
          <a:p>
            <a:pPr lvl="1"/>
            <a:r>
              <a:rPr lang="en-US" dirty="0"/>
              <a:t>Must identify any impacted parent companies or subsidiaries</a:t>
            </a:r>
          </a:p>
          <a:p>
            <a:pPr lvl="1"/>
            <a:r>
              <a:rPr lang="en-US" dirty="0"/>
              <a:t>Notification required to two separate email addresses</a:t>
            </a:r>
          </a:p>
        </p:txBody>
      </p:sp>
      <p:sp>
        <p:nvSpPr>
          <p:cNvPr id="3" name="Text Placeholder 2">
            <a:extLst>
              <a:ext uri="{FF2B5EF4-FFF2-40B4-BE49-F238E27FC236}">
                <a16:creationId xmlns:a16="http://schemas.microsoft.com/office/drawing/2014/main" id="{F7B674EE-EF30-3DF7-FAEC-AAF1AD3D6827}"/>
              </a:ext>
            </a:extLst>
          </p:cNvPr>
          <p:cNvSpPr>
            <a:spLocks noGrp="1"/>
          </p:cNvSpPr>
          <p:nvPr>
            <p:ph type="body" sz="quarter" idx="15"/>
          </p:nvPr>
        </p:nvSpPr>
        <p:spPr/>
        <p:txBody>
          <a:bodyPr/>
          <a:lstStyle/>
          <a:p>
            <a:r>
              <a:rPr lang="en-US" dirty="0"/>
              <a:t>HUD CYBER INCIDENT REPORTING REQUIREMENT</a:t>
            </a:r>
          </a:p>
        </p:txBody>
      </p:sp>
      <p:sp>
        <p:nvSpPr>
          <p:cNvPr id="4" name="Text Placeholder 3">
            <a:extLst>
              <a:ext uri="{FF2B5EF4-FFF2-40B4-BE49-F238E27FC236}">
                <a16:creationId xmlns:a16="http://schemas.microsoft.com/office/drawing/2014/main" id="{A158C560-D428-71A0-EE20-79F95223BAE9}"/>
              </a:ext>
            </a:extLst>
          </p:cNvPr>
          <p:cNvSpPr>
            <a:spLocks noGrp="1"/>
          </p:cNvSpPr>
          <p:nvPr>
            <p:ph type="body" sz="quarter" idx="16"/>
          </p:nvPr>
        </p:nvSpPr>
        <p:spPr/>
        <p:txBody>
          <a:bodyPr/>
          <a:lstStyle/>
          <a:p>
            <a:endParaRPr lang="en-US"/>
          </a:p>
        </p:txBody>
      </p:sp>
    </p:spTree>
    <p:extLst>
      <p:ext uri="{BB962C8B-B14F-4D97-AF65-F5344CB8AC3E}">
        <p14:creationId xmlns:p14="http://schemas.microsoft.com/office/powerpoint/2010/main" val="15432332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7FEE3E7-A81A-431C-B227-86207E787584}"/>
              </a:ext>
            </a:extLst>
          </p:cNvPr>
          <p:cNvSpPr>
            <a:spLocks noGrp="1"/>
          </p:cNvSpPr>
          <p:nvPr>
            <p:ph type="body" sz="quarter" idx="12"/>
          </p:nvPr>
        </p:nvSpPr>
        <p:spPr/>
        <p:txBody>
          <a:bodyPr/>
          <a:lstStyle/>
          <a:p>
            <a:r>
              <a:rPr lang="en-US" dirty="0">
                <a:latin typeface="Poppins" panose="00000500000000000000" pitchFamily="2" charset="0"/>
                <a:cs typeface="Poppins" panose="00000500000000000000" pitchFamily="2" charset="0"/>
              </a:rPr>
              <a:t>ADDITIONAL DEVELOPMENTS</a:t>
            </a:r>
          </a:p>
        </p:txBody>
      </p:sp>
      <p:sp>
        <p:nvSpPr>
          <p:cNvPr id="9" name="Text Placeholder 8">
            <a:extLst>
              <a:ext uri="{FF2B5EF4-FFF2-40B4-BE49-F238E27FC236}">
                <a16:creationId xmlns:a16="http://schemas.microsoft.com/office/drawing/2014/main" id="{5DE6BB4C-48B7-4F61-B98A-3FCF46E83B4F}"/>
              </a:ext>
            </a:extLst>
          </p:cNvPr>
          <p:cNvSpPr>
            <a:spLocks noGrp="1"/>
          </p:cNvSpPr>
          <p:nvPr>
            <p:ph type="body" sz="quarter" idx="13"/>
          </p:nvPr>
        </p:nvSpPr>
        <p:spPr/>
        <p:txBody>
          <a:bodyPr/>
          <a:lstStyle/>
          <a:p>
            <a:r>
              <a:rPr lang="en-US" sz="1600" dirty="0">
                <a:latin typeface="Poppins" panose="00000500000000000000" pitchFamily="2" charset="0"/>
                <a:cs typeface="Poppins" panose="00000500000000000000" pitchFamily="2" charset="0"/>
              </a:rPr>
              <a:t>Other issues to watch</a:t>
            </a:r>
          </a:p>
        </p:txBody>
      </p:sp>
    </p:spTree>
    <p:extLst>
      <p:ext uri="{BB962C8B-B14F-4D97-AF65-F5344CB8AC3E}">
        <p14:creationId xmlns:p14="http://schemas.microsoft.com/office/powerpoint/2010/main" val="21679047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angry group GIF by South Park ">
            <a:extLst>
              <a:ext uri="{FF2B5EF4-FFF2-40B4-BE49-F238E27FC236}">
                <a16:creationId xmlns:a16="http://schemas.microsoft.com/office/drawing/2014/main" id="{84BE031A-A489-9368-0571-9BD77EBC66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05" y="250529"/>
            <a:ext cx="6359451" cy="357719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nervous court GIF by South Park ">
            <a:extLst>
              <a:ext uri="{FF2B5EF4-FFF2-40B4-BE49-F238E27FC236}">
                <a16:creationId xmlns:a16="http://schemas.microsoft.com/office/drawing/2014/main" id="{B62759AC-C817-D2CD-F41D-2B6291D30C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0" y="2934254"/>
            <a:ext cx="5224131" cy="367321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729F309C-6B41-2842-C8F8-105C5282E870}"/>
              </a:ext>
            </a:extLst>
          </p:cNvPr>
          <p:cNvPicPr>
            <a:picLocks noChangeAspect="1"/>
          </p:cNvPicPr>
          <p:nvPr/>
        </p:nvPicPr>
        <p:blipFill>
          <a:blip r:embed="rId5"/>
          <a:stretch>
            <a:fillRect/>
          </a:stretch>
        </p:blipFill>
        <p:spPr>
          <a:xfrm>
            <a:off x="7291326" y="758197"/>
            <a:ext cx="3797495" cy="1428823"/>
          </a:xfrm>
          <a:prstGeom prst="rect">
            <a:avLst/>
          </a:prstGeom>
        </p:spPr>
      </p:pic>
    </p:spTree>
    <p:extLst>
      <p:ext uri="{BB962C8B-B14F-4D97-AF65-F5344CB8AC3E}">
        <p14:creationId xmlns:p14="http://schemas.microsoft.com/office/powerpoint/2010/main" val="26461415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EB1769-92B0-5BE9-552D-7BDD8835B9F8}"/>
              </a:ext>
            </a:extLst>
          </p:cNvPr>
          <p:cNvSpPr>
            <a:spLocks noGrp="1"/>
          </p:cNvSpPr>
          <p:nvPr>
            <p:ph type="title"/>
          </p:nvPr>
        </p:nvSpPr>
        <p:spPr>
          <a:xfrm>
            <a:off x="838200" y="387757"/>
            <a:ext cx="10515600" cy="585926"/>
          </a:xfrm>
        </p:spPr>
        <p:txBody>
          <a:bodyPr>
            <a:normAutofit/>
          </a:bodyPr>
          <a:lstStyle/>
          <a:p>
            <a:pPr algn="ctr"/>
            <a:r>
              <a:rPr lang="en-US" sz="3600" b="1" dirty="0">
                <a:solidFill>
                  <a:srgbClr val="214B66"/>
                </a:solidFill>
                <a:latin typeface="Open Sans" panose="020B0606030504020204" pitchFamily="34" charset="0"/>
                <a:ea typeface="Open Sans" panose="020B0606030504020204" pitchFamily="34" charset="0"/>
                <a:cs typeface="Open Sans" panose="020B0606030504020204" pitchFamily="34" charset="0"/>
              </a:rPr>
              <a:t>DATA BREACH LITIGATION TRENDS</a:t>
            </a:r>
          </a:p>
        </p:txBody>
      </p:sp>
      <p:sp>
        <p:nvSpPr>
          <p:cNvPr id="3" name="Content Placeholder 2">
            <a:extLst>
              <a:ext uri="{FF2B5EF4-FFF2-40B4-BE49-F238E27FC236}">
                <a16:creationId xmlns:a16="http://schemas.microsoft.com/office/drawing/2014/main" id="{533B65A3-E7C5-6771-3B5C-E2E7A48E801B}"/>
              </a:ext>
            </a:extLst>
          </p:cNvPr>
          <p:cNvSpPr>
            <a:spLocks noGrp="1"/>
          </p:cNvSpPr>
          <p:nvPr>
            <p:ph idx="1"/>
          </p:nvPr>
        </p:nvSpPr>
        <p:spPr>
          <a:xfrm>
            <a:off x="838200" y="1825624"/>
            <a:ext cx="10515600" cy="4825924"/>
          </a:xfrm>
        </p:spPr>
        <p:txBody>
          <a:bodyPr>
            <a:normAutofit fontScale="85000" lnSpcReduction="20000"/>
          </a:bodyPr>
          <a:lstStyle/>
          <a:p>
            <a:pPr algn="l"/>
            <a:endParaRPr lang="en-US" sz="1800"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i="1"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i="1"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i="1"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i="1"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i="1"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b="0" i="1" u="none" strike="noStrike" baseline="0" dirty="0">
              <a:solidFill>
                <a:srgbClr val="000000"/>
              </a:solidFill>
            </a:endParaRPr>
          </a:p>
          <a:p>
            <a:pPr marL="0" indent="0" algn="l">
              <a:buNone/>
            </a:pPr>
            <a:endParaRPr lang="en-US" sz="1800" b="0" i="1" u="none" strike="noStrike" baseline="0" dirty="0">
              <a:solidFill>
                <a:srgbClr val="000000"/>
              </a:solidFill>
            </a:endParaRPr>
          </a:p>
          <a:p>
            <a:pPr marL="0" indent="0" algn="l">
              <a:spcBef>
                <a:spcPts val="2400"/>
              </a:spcBef>
              <a:buNone/>
            </a:pPr>
            <a:r>
              <a:rPr lang="en-US" sz="1200" b="0" i="1" u="none" strike="noStrike" baseline="0" dirty="0">
                <a:solidFill>
                  <a:srgbClr val="000000"/>
                </a:solidFill>
              </a:rPr>
              <a:t>Source: Bloomberg Law - Ransomware Attacks: Litigating a Growing Threat</a:t>
            </a:r>
          </a:p>
          <a:p>
            <a:pPr marL="0" indent="0" algn="l">
              <a:buNone/>
            </a:pPr>
            <a:endParaRPr lang="en-US" sz="1200" b="0" i="1" u="none" strike="noStrike" baseline="0" dirty="0"/>
          </a:p>
        </p:txBody>
      </p:sp>
      <p:pic>
        <p:nvPicPr>
          <p:cNvPr id="5" name="Picture 4">
            <a:extLst>
              <a:ext uri="{FF2B5EF4-FFF2-40B4-BE49-F238E27FC236}">
                <a16:creationId xmlns:a16="http://schemas.microsoft.com/office/drawing/2014/main" id="{922102F7-9809-CA41-D4BA-78EF139DF04E}"/>
              </a:ext>
            </a:extLst>
          </p:cNvPr>
          <p:cNvPicPr>
            <a:picLocks noChangeAspect="1"/>
          </p:cNvPicPr>
          <p:nvPr/>
        </p:nvPicPr>
        <p:blipFill>
          <a:blip r:embed="rId3"/>
          <a:srcRect/>
          <a:stretch/>
        </p:blipFill>
        <p:spPr>
          <a:xfrm>
            <a:off x="2957071" y="1114425"/>
            <a:ext cx="6277858" cy="5108537"/>
          </a:xfrm>
          <a:prstGeom prst="rect">
            <a:avLst/>
          </a:prstGeom>
        </p:spPr>
      </p:pic>
    </p:spTree>
    <p:extLst>
      <p:ext uri="{BB962C8B-B14F-4D97-AF65-F5344CB8AC3E}">
        <p14:creationId xmlns:p14="http://schemas.microsoft.com/office/powerpoint/2010/main" val="17145670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FDB13E-8068-42B8-A9A1-26CE312B194D}"/>
              </a:ext>
            </a:extLst>
          </p:cNvPr>
          <p:cNvSpPr>
            <a:spLocks noGrp="1"/>
          </p:cNvSpPr>
          <p:nvPr>
            <p:ph type="body" sz="quarter" idx="15"/>
          </p:nvPr>
        </p:nvSpPr>
        <p:spPr>
          <a:xfrm>
            <a:off x="390331" y="376361"/>
            <a:ext cx="11430000" cy="502920"/>
          </a:xfrm>
        </p:spPr>
        <p:txBody>
          <a:bodyPr/>
          <a:lstStyle/>
          <a:p>
            <a:r>
              <a:rPr lang="en-US" dirty="0"/>
              <a:t>BEST PRACTICES</a:t>
            </a:r>
          </a:p>
        </p:txBody>
      </p:sp>
      <p:sp>
        <p:nvSpPr>
          <p:cNvPr id="4" name="TextBox 3">
            <a:extLst>
              <a:ext uri="{FF2B5EF4-FFF2-40B4-BE49-F238E27FC236}">
                <a16:creationId xmlns:a16="http://schemas.microsoft.com/office/drawing/2014/main" id="{50FA7076-AE29-423E-9D33-A0E49D8091CB}"/>
              </a:ext>
            </a:extLst>
          </p:cNvPr>
          <p:cNvSpPr txBox="1"/>
          <p:nvPr/>
        </p:nvSpPr>
        <p:spPr>
          <a:xfrm>
            <a:off x="6593304" y="4646846"/>
            <a:ext cx="5438275" cy="8463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6983"/>
                </a:solidFill>
                <a:effectLst/>
                <a:uLnTx/>
                <a:uFillTx/>
                <a:latin typeface="Open Sans (Body)"/>
                <a:ea typeface="Open Sans" panose="020B0606030504020204" pitchFamily="34" charset="0"/>
                <a:cs typeface="Poppins" panose="00000500000000000000" pitchFamily="2" charset="0"/>
              </a:rPr>
              <a:t>Cyber Insuranc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rPr>
              <a:t>Assess the current cyber insurance policy to ensure sufficient coverage and potential exclusions.</a:t>
            </a:r>
          </a:p>
        </p:txBody>
      </p:sp>
      <p:sp>
        <p:nvSpPr>
          <p:cNvPr id="8" name="TextBox 7">
            <a:extLst>
              <a:ext uri="{FF2B5EF4-FFF2-40B4-BE49-F238E27FC236}">
                <a16:creationId xmlns:a16="http://schemas.microsoft.com/office/drawing/2014/main" id="{5537AD02-DCFA-4EB0-BDE9-48670FFA234D}"/>
              </a:ext>
            </a:extLst>
          </p:cNvPr>
          <p:cNvSpPr txBox="1"/>
          <p:nvPr/>
        </p:nvSpPr>
        <p:spPr>
          <a:xfrm>
            <a:off x="6593303" y="3764845"/>
            <a:ext cx="5438275" cy="8463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srgbClr val="00BBEE"/>
                </a:solidFill>
                <a:effectLst/>
                <a:uLnTx/>
                <a:uFillTx/>
                <a:latin typeface="Open Sans (Body)"/>
                <a:ea typeface="Open Sans" panose="020B0606030504020204" pitchFamily="34" charset="0"/>
                <a:cs typeface="Poppins" panose="00000500000000000000" pitchFamily="2" charset="0"/>
              </a:rPr>
              <a:t>Vendor Managemen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rPr>
              <a:t>Evaluate vendor management program and ensure agreements require adequate security controls.</a:t>
            </a:r>
            <a:endParaRPr kumimoji="0" lang="en-US" sz="1800" b="1"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endParaRPr>
          </a:p>
        </p:txBody>
      </p:sp>
      <p:sp>
        <p:nvSpPr>
          <p:cNvPr id="9" name="TextBox 8">
            <a:extLst>
              <a:ext uri="{FF2B5EF4-FFF2-40B4-BE49-F238E27FC236}">
                <a16:creationId xmlns:a16="http://schemas.microsoft.com/office/drawing/2014/main" id="{BE32D860-4F1F-43AD-8884-46AC1D170D3E}"/>
              </a:ext>
            </a:extLst>
          </p:cNvPr>
          <p:cNvSpPr txBox="1"/>
          <p:nvPr/>
        </p:nvSpPr>
        <p:spPr>
          <a:xfrm>
            <a:off x="6593304" y="5528845"/>
            <a:ext cx="543827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993399"/>
                </a:solidFill>
                <a:effectLst/>
                <a:uLnTx/>
                <a:uFillTx/>
                <a:latin typeface="Open Sans (Body)"/>
                <a:ea typeface="Open Sans" panose="020B0606030504020204" pitchFamily="34" charset="0"/>
                <a:cs typeface="Poppins" panose="00000500000000000000" pitchFamily="2" charset="0"/>
              </a:rPr>
              <a:t>Data Mapping Procedure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rPr>
              <a:t>Conduct a data mapping exercise to evaluate what information is collected, where it is stored, etc.</a:t>
            </a:r>
          </a:p>
        </p:txBody>
      </p:sp>
      <p:grpSp>
        <p:nvGrpSpPr>
          <p:cNvPr id="11" name="Group 10">
            <a:extLst>
              <a:ext uri="{FF2B5EF4-FFF2-40B4-BE49-F238E27FC236}">
                <a16:creationId xmlns:a16="http://schemas.microsoft.com/office/drawing/2014/main" id="{45A59193-D587-4F0A-AFB7-907B9E43A640}"/>
              </a:ext>
            </a:extLst>
          </p:cNvPr>
          <p:cNvGrpSpPr/>
          <p:nvPr/>
        </p:nvGrpSpPr>
        <p:grpSpPr>
          <a:xfrm>
            <a:off x="276087" y="1962014"/>
            <a:ext cx="5563071" cy="3728923"/>
            <a:chOff x="757351" y="2467339"/>
            <a:chExt cx="4307940" cy="2887610"/>
          </a:xfrm>
        </p:grpSpPr>
        <p:sp>
          <p:nvSpPr>
            <p:cNvPr id="24" name="Google Shape;22;p3">
              <a:extLst>
                <a:ext uri="{FF2B5EF4-FFF2-40B4-BE49-F238E27FC236}">
                  <a16:creationId xmlns:a16="http://schemas.microsoft.com/office/drawing/2014/main" id="{CF5372F4-B590-498A-9537-9CA8C5BED28C}"/>
                </a:ext>
              </a:extLst>
            </p:cNvPr>
            <p:cNvSpPr/>
            <p:nvPr/>
          </p:nvSpPr>
          <p:spPr>
            <a:xfrm>
              <a:off x="757351" y="3905576"/>
              <a:ext cx="1452729" cy="1449372"/>
            </a:xfrm>
            <a:custGeom>
              <a:avLst/>
              <a:gdLst/>
              <a:ahLst/>
              <a:cxnLst/>
              <a:rect l="l" t="t" r="r" b="b"/>
              <a:pathLst>
                <a:path w="3814" h="3805" extrusionOk="0">
                  <a:moveTo>
                    <a:pt x="3813" y="3804"/>
                  </a:moveTo>
                  <a:lnTo>
                    <a:pt x="3813" y="3804"/>
                  </a:lnTo>
                  <a:cubicBezTo>
                    <a:pt x="298" y="3804"/>
                    <a:pt x="298" y="3804"/>
                    <a:pt x="298" y="3804"/>
                  </a:cubicBezTo>
                  <a:cubicBezTo>
                    <a:pt x="135" y="3804"/>
                    <a:pt x="0" y="3668"/>
                    <a:pt x="0" y="3505"/>
                  </a:cubicBezTo>
                  <a:cubicBezTo>
                    <a:pt x="0" y="0"/>
                    <a:pt x="0" y="0"/>
                    <a:pt x="0" y="0"/>
                  </a:cubicBezTo>
                  <a:cubicBezTo>
                    <a:pt x="3813" y="0"/>
                    <a:pt x="3813" y="0"/>
                    <a:pt x="3813" y="0"/>
                  </a:cubicBezTo>
                  <a:lnTo>
                    <a:pt x="3813" y="3804"/>
                  </a:lnTo>
                </a:path>
              </a:pathLst>
            </a:custGeom>
            <a:solidFill>
              <a:schemeClr val="accent4"/>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Open Sans"/>
                <a:ea typeface="Arial"/>
                <a:cs typeface="Arial"/>
                <a:sym typeface="Arial"/>
              </a:endParaRPr>
            </a:p>
          </p:txBody>
        </p:sp>
        <p:sp>
          <p:nvSpPr>
            <p:cNvPr id="25" name="Google Shape;23;p3">
              <a:extLst>
                <a:ext uri="{FF2B5EF4-FFF2-40B4-BE49-F238E27FC236}">
                  <a16:creationId xmlns:a16="http://schemas.microsoft.com/office/drawing/2014/main" id="{71C474C7-E4B8-437C-A237-8B94D98BAFE9}"/>
                </a:ext>
              </a:extLst>
            </p:cNvPr>
            <p:cNvSpPr/>
            <p:nvPr/>
          </p:nvSpPr>
          <p:spPr>
            <a:xfrm>
              <a:off x="757351" y="2467339"/>
              <a:ext cx="1620675" cy="1624040"/>
            </a:xfrm>
            <a:custGeom>
              <a:avLst/>
              <a:gdLst/>
              <a:ahLst/>
              <a:cxnLst/>
              <a:rect l="l" t="t" r="r" b="b"/>
              <a:pathLst>
                <a:path w="4257" h="4264" extrusionOk="0">
                  <a:moveTo>
                    <a:pt x="4066" y="1472"/>
                  </a:moveTo>
                  <a:lnTo>
                    <a:pt x="4066" y="1472"/>
                  </a:lnTo>
                  <a:cubicBezTo>
                    <a:pt x="4012" y="1472"/>
                    <a:pt x="3957" y="1518"/>
                    <a:pt x="3921" y="1590"/>
                  </a:cubicBezTo>
                  <a:cubicBezTo>
                    <a:pt x="3912" y="1599"/>
                    <a:pt x="3894" y="1599"/>
                    <a:pt x="3876" y="1599"/>
                  </a:cubicBezTo>
                  <a:cubicBezTo>
                    <a:pt x="3849" y="1599"/>
                    <a:pt x="3822" y="1590"/>
                    <a:pt x="3813" y="1581"/>
                  </a:cubicBezTo>
                  <a:cubicBezTo>
                    <a:pt x="3813" y="0"/>
                    <a:pt x="3813" y="0"/>
                    <a:pt x="3813" y="0"/>
                  </a:cubicBezTo>
                  <a:cubicBezTo>
                    <a:pt x="325" y="0"/>
                    <a:pt x="325" y="0"/>
                    <a:pt x="325" y="0"/>
                  </a:cubicBezTo>
                  <a:cubicBezTo>
                    <a:pt x="144" y="0"/>
                    <a:pt x="0" y="144"/>
                    <a:pt x="0" y="325"/>
                  </a:cubicBezTo>
                  <a:cubicBezTo>
                    <a:pt x="0" y="3812"/>
                    <a:pt x="0" y="3812"/>
                    <a:pt x="0" y="3812"/>
                  </a:cubicBezTo>
                  <a:cubicBezTo>
                    <a:pt x="1671" y="3812"/>
                    <a:pt x="1671" y="3812"/>
                    <a:pt x="1671" y="3812"/>
                  </a:cubicBezTo>
                  <a:cubicBezTo>
                    <a:pt x="1680" y="3821"/>
                    <a:pt x="1689" y="3848"/>
                    <a:pt x="1689" y="3884"/>
                  </a:cubicBezTo>
                  <a:cubicBezTo>
                    <a:pt x="1689" y="3902"/>
                    <a:pt x="1689" y="3911"/>
                    <a:pt x="1680" y="3929"/>
                  </a:cubicBezTo>
                  <a:cubicBezTo>
                    <a:pt x="1608" y="3965"/>
                    <a:pt x="1563" y="4010"/>
                    <a:pt x="1563" y="4074"/>
                  </a:cubicBezTo>
                  <a:cubicBezTo>
                    <a:pt x="1563" y="4182"/>
                    <a:pt x="1716" y="4263"/>
                    <a:pt x="1906" y="4263"/>
                  </a:cubicBezTo>
                  <a:cubicBezTo>
                    <a:pt x="2096" y="4263"/>
                    <a:pt x="2249" y="4182"/>
                    <a:pt x="2249" y="4074"/>
                  </a:cubicBezTo>
                  <a:cubicBezTo>
                    <a:pt x="2249" y="4010"/>
                    <a:pt x="2195" y="3965"/>
                    <a:pt x="2132" y="3929"/>
                  </a:cubicBezTo>
                  <a:cubicBezTo>
                    <a:pt x="2123" y="3911"/>
                    <a:pt x="2123" y="3902"/>
                    <a:pt x="2123" y="3884"/>
                  </a:cubicBezTo>
                  <a:cubicBezTo>
                    <a:pt x="2123" y="3848"/>
                    <a:pt x="2132" y="3821"/>
                    <a:pt x="2141" y="3812"/>
                  </a:cubicBezTo>
                  <a:cubicBezTo>
                    <a:pt x="3813" y="3812"/>
                    <a:pt x="3813" y="3812"/>
                    <a:pt x="3813" y="3812"/>
                  </a:cubicBezTo>
                  <a:cubicBezTo>
                    <a:pt x="3813" y="2042"/>
                    <a:pt x="3813" y="2042"/>
                    <a:pt x="3813" y="2042"/>
                  </a:cubicBezTo>
                  <a:cubicBezTo>
                    <a:pt x="3822" y="2042"/>
                    <a:pt x="3849" y="2033"/>
                    <a:pt x="3876" y="2033"/>
                  </a:cubicBezTo>
                  <a:cubicBezTo>
                    <a:pt x="3894" y="2033"/>
                    <a:pt x="3912" y="2033"/>
                    <a:pt x="3921" y="2033"/>
                  </a:cubicBezTo>
                  <a:cubicBezTo>
                    <a:pt x="3957" y="2105"/>
                    <a:pt x="4012" y="2150"/>
                    <a:pt x="4066" y="2150"/>
                  </a:cubicBezTo>
                  <a:cubicBezTo>
                    <a:pt x="4174" y="2150"/>
                    <a:pt x="4256" y="2005"/>
                    <a:pt x="4256" y="1816"/>
                  </a:cubicBezTo>
                  <a:cubicBezTo>
                    <a:pt x="4256" y="1626"/>
                    <a:pt x="4174" y="1472"/>
                    <a:pt x="4066" y="1472"/>
                  </a:cubicBezTo>
                </a:path>
              </a:pathLst>
            </a:custGeom>
            <a:solidFill>
              <a:schemeClr val="accent1"/>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Open Sans"/>
                <a:ea typeface="Arial"/>
                <a:cs typeface="Arial"/>
                <a:sym typeface="Arial"/>
              </a:endParaRPr>
            </a:p>
          </p:txBody>
        </p:sp>
        <p:grpSp>
          <p:nvGrpSpPr>
            <p:cNvPr id="26" name="Group 25">
              <a:extLst>
                <a:ext uri="{FF2B5EF4-FFF2-40B4-BE49-F238E27FC236}">
                  <a16:creationId xmlns:a16="http://schemas.microsoft.com/office/drawing/2014/main" id="{1A4FEDE9-2475-42AD-B4C6-CDE936A92465}"/>
                </a:ext>
              </a:extLst>
            </p:cNvPr>
            <p:cNvGrpSpPr/>
            <p:nvPr/>
          </p:nvGrpSpPr>
          <p:grpSpPr>
            <a:xfrm>
              <a:off x="2024251" y="2467339"/>
              <a:ext cx="1624039" cy="1627396"/>
              <a:chOff x="11665736" y="4410614"/>
              <a:chExt cx="4577614" cy="4587076"/>
            </a:xfrm>
          </p:grpSpPr>
          <p:sp>
            <p:nvSpPr>
              <p:cNvPr id="30" name="Google Shape;24;p3">
                <a:extLst>
                  <a:ext uri="{FF2B5EF4-FFF2-40B4-BE49-F238E27FC236}">
                    <a16:creationId xmlns:a16="http://schemas.microsoft.com/office/drawing/2014/main" id="{4D44F513-AB5B-4BBB-B3FB-0426CCCEE2FB}"/>
                  </a:ext>
                </a:extLst>
              </p:cNvPr>
              <p:cNvSpPr/>
              <p:nvPr/>
            </p:nvSpPr>
            <p:spPr>
              <a:xfrm>
                <a:off x="11665736" y="4410614"/>
                <a:ext cx="4577614" cy="4577617"/>
              </a:xfrm>
              <a:custGeom>
                <a:avLst/>
                <a:gdLst/>
                <a:ahLst/>
                <a:cxnLst/>
                <a:rect l="l" t="t" r="r" b="b"/>
                <a:pathLst>
                  <a:path w="4265" h="4264" extrusionOk="0">
                    <a:moveTo>
                      <a:pt x="2601" y="3812"/>
                    </a:moveTo>
                    <a:lnTo>
                      <a:pt x="2601" y="3812"/>
                    </a:lnTo>
                    <a:cubicBezTo>
                      <a:pt x="4264" y="3812"/>
                      <a:pt x="4264" y="3812"/>
                      <a:pt x="4264" y="3812"/>
                    </a:cubicBezTo>
                    <a:cubicBezTo>
                      <a:pt x="4264" y="0"/>
                      <a:pt x="4264" y="0"/>
                      <a:pt x="4264" y="0"/>
                    </a:cubicBezTo>
                    <a:cubicBezTo>
                      <a:pt x="461" y="0"/>
                      <a:pt x="461" y="0"/>
                      <a:pt x="461" y="0"/>
                    </a:cubicBezTo>
                    <a:cubicBezTo>
                      <a:pt x="461" y="1581"/>
                      <a:pt x="461" y="1581"/>
                      <a:pt x="461" y="1581"/>
                    </a:cubicBezTo>
                    <a:cubicBezTo>
                      <a:pt x="443" y="1581"/>
                      <a:pt x="416" y="1599"/>
                      <a:pt x="379" y="1599"/>
                    </a:cubicBezTo>
                    <a:cubicBezTo>
                      <a:pt x="361" y="1599"/>
                      <a:pt x="352" y="1599"/>
                      <a:pt x="334" y="1590"/>
                    </a:cubicBezTo>
                    <a:cubicBezTo>
                      <a:pt x="298" y="1518"/>
                      <a:pt x="244" y="1472"/>
                      <a:pt x="190" y="1472"/>
                    </a:cubicBezTo>
                    <a:cubicBezTo>
                      <a:pt x="81" y="1472"/>
                      <a:pt x="0" y="1626"/>
                      <a:pt x="0" y="1816"/>
                    </a:cubicBezTo>
                    <a:cubicBezTo>
                      <a:pt x="0" y="2005"/>
                      <a:pt x="81" y="2150"/>
                      <a:pt x="190" y="2150"/>
                    </a:cubicBezTo>
                    <a:cubicBezTo>
                      <a:pt x="244" y="2150"/>
                      <a:pt x="298" y="2105"/>
                      <a:pt x="334" y="2033"/>
                    </a:cubicBezTo>
                    <a:cubicBezTo>
                      <a:pt x="352" y="2033"/>
                      <a:pt x="361" y="2033"/>
                      <a:pt x="379" y="2033"/>
                    </a:cubicBezTo>
                    <a:cubicBezTo>
                      <a:pt x="416" y="2033"/>
                      <a:pt x="443" y="2042"/>
                      <a:pt x="461" y="2051"/>
                    </a:cubicBezTo>
                    <a:cubicBezTo>
                      <a:pt x="461" y="3812"/>
                      <a:pt x="461" y="3812"/>
                      <a:pt x="461" y="3812"/>
                    </a:cubicBezTo>
                    <a:cubicBezTo>
                      <a:pt x="2131" y="3812"/>
                      <a:pt x="2131" y="3812"/>
                      <a:pt x="2131" y="3812"/>
                    </a:cubicBezTo>
                    <a:cubicBezTo>
                      <a:pt x="2131" y="3821"/>
                      <a:pt x="2140" y="3848"/>
                      <a:pt x="2149" y="3884"/>
                    </a:cubicBezTo>
                    <a:cubicBezTo>
                      <a:pt x="2149" y="3902"/>
                      <a:pt x="2140" y="3911"/>
                      <a:pt x="2140" y="3929"/>
                    </a:cubicBezTo>
                    <a:cubicBezTo>
                      <a:pt x="2068" y="3965"/>
                      <a:pt x="2023" y="4010"/>
                      <a:pt x="2023" y="4074"/>
                    </a:cubicBezTo>
                    <a:cubicBezTo>
                      <a:pt x="2023" y="4182"/>
                      <a:pt x="2177" y="4263"/>
                      <a:pt x="2366" y="4263"/>
                    </a:cubicBezTo>
                    <a:cubicBezTo>
                      <a:pt x="2547" y="4263"/>
                      <a:pt x="2701" y="4182"/>
                      <a:pt x="2701" y="4074"/>
                    </a:cubicBezTo>
                    <a:cubicBezTo>
                      <a:pt x="2701" y="4010"/>
                      <a:pt x="2655" y="3965"/>
                      <a:pt x="2583" y="3929"/>
                    </a:cubicBezTo>
                    <a:cubicBezTo>
                      <a:pt x="2583" y="3911"/>
                      <a:pt x="2583" y="3902"/>
                      <a:pt x="2583" y="3884"/>
                    </a:cubicBezTo>
                    <a:cubicBezTo>
                      <a:pt x="2583" y="3848"/>
                      <a:pt x="2592" y="3821"/>
                      <a:pt x="2601" y="3812"/>
                    </a:cubicBezTo>
                  </a:path>
                </a:pathLst>
              </a:custGeom>
              <a:solidFill>
                <a:schemeClr val="accent2"/>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Open Sans"/>
                  <a:ea typeface="Arial"/>
                  <a:cs typeface="Arial"/>
                  <a:sym typeface="Arial"/>
                </a:endParaRPr>
              </a:p>
            </p:txBody>
          </p:sp>
          <p:sp>
            <p:nvSpPr>
              <p:cNvPr id="31" name="Google Shape;29;p3">
                <a:extLst>
                  <a:ext uri="{FF2B5EF4-FFF2-40B4-BE49-F238E27FC236}">
                    <a16:creationId xmlns:a16="http://schemas.microsoft.com/office/drawing/2014/main" id="{C1B94869-A896-4ADE-A3C0-32FF091EF65D}"/>
                  </a:ext>
                </a:extLst>
              </p:cNvPr>
              <p:cNvSpPr/>
              <p:nvPr/>
            </p:nvSpPr>
            <p:spPr>
              <a:xfrm>
                <a:off x="13838566" y="8491173"/>
                <a:ext cx="729012" cy="506517"/>
              </a:xfrm>
              <a:custGeom>
                <a:avLst/>
                <a:gdLst/>
                <a:ahLst/>
                <a:cxnLst/>
                <a:rect l="l" t="t" r="r" b="b"/>
                <a:pathLst>
                  <a:path w="679" h="470" extrusionOk="0">
                    <a:moveTo>
                      <a:pt x="678" y="271"/>
                    </a:moveTo>
                    <a:lnTo>
                      <a:pt x="678" y="271"/>
                    </a:lnTo>
                    <a:cubicBezTo>
                      <a:pt x="678" y="216"/>
                      <a:pt x="632" y="162"/>
                      <a:pt x="560" y="126"/>
                    </a:cubicBezTo>
                    <a:cubicBezTo>
                      <a:pt x="560" y="117"/>
                      <a:pt x="560" y="99"/>
                      <a:pt x="560" y="81"/>
                    </a:cubicBezTo>
                    <a:cubicBezTo>
                      <a:pt x="560" y="45"/>
                      <a:pt x="569" y="18"/>
                      <a:pt x="578" y="0"/>
                    </a:cubicBezTo>
                    <a:cubicBezTo>
                      <a:pt x="416" y="0"/>
                      <a:pt x="262" y="0"/>
                      <a:pt x="100" y="0"/>
                    </a:cubicBezTo>
                    <a:cubicBezTo>
                      <a:pt x="108" y="18"/>
                      <a:pt x="126" y="45"/>
                      <a:pt x="126" y="81"/>
                    </a:cubicBezTo>
                    <a:cubicBezTo>
                      <a:pt x="126" y="99"/>
                      <a:pt x="117" y="117"/>
                      <a:pt x="117" y="126"/>
                    </a:cubicBezTo>
                    <a:cubicBezTo>
                      <a:pt x="45" y="162"/>
                      <a:pt x="0" y="216"/>
                      <a:pt x="0" y="271"/>
                    </a:cubicBezTo>
                    <a:cubicBezTo>
                      <a:pt x="0" y="379"/>
                      <a:pt x="154" y="469"/>
                      <a:pt x="343" y="469"/>
                    </a:cubicBezTo>
                    <a:cubicBezTo>
                      <a:pt x="524" y="469"/>
                      <a:pt x="678" y="379"/>
                      <a:pt x="678" y="271"/>
                    </a:cubicBezTo>
                  </a:path>
                </a:pathLst>
              </a:custGeom>
              <a:solidFill>
                <a:schemeClr val="accent2"/>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Tx/>
                  <a:buSzPts val="1800"/>
                  <a:buFontTx/>
                  <a:buNone/>
                  <a:tabLst/>
                  <a:defRPr/>
                </a:pPr>
                <a:endParaRPr kumimoji="0" sz="1800" b="0" i="0" u="none" strike="noStrike" kern="1200" cap="none" spc="0" normalizeH="0" baseline="0" noProof="0" dirty="0">
                  <a:ln>
                    <a:noFill/>
                  </a:ln>
                  <a:solidFill>
                    <a:srgbClr val="181818"/>
                  </a:solidFill>
                  <a:effectLst/>
                  <a:uLnTx/>
                  <a:uFillTx/>
                  <a:latin typeface="Open Sans"/>
                  <a:ea typeface="+mn-ea"/>
                  <a:cs typeface="+mn-cs"/>
                </a:endParaRPr>
              </a:p>
            </p:txBody>
          </p:sp>
          <p:sp>
            <p:nvSpPr>
              <p:cNvPr id="32" name="Google Shape;30;p3">
                <a:extLst>
                  <a:ext uri="{FF2B5EF4-FFF2-40B4-BE49-F238E27FC236}">
                    <a16:creationId xmlns:a16="http://schemas.microsoft.com/office/drawing/2014/main" id="{27890276-6D81-4974-9179-8655E53D2252}"/>
                  </a:ext>
                </a:extLst>
              </p:cNvPr>
              <p:cNvSpPr/>
              <p:nvPr/>
            </p:nvSpPr>
            <p:spPr>
              <a:xfrm>
                <a:off x="13952178" y="8415432"/>
                <a:ext cx="515988" cy="156215"/>
              </a:xfrm>
              <a:custGeom>
                <a:avLst/>
                <a:gdLst/>
                <a:ahLst/>
                <a:cxnLst/>
                <a:rect l="l" t="t" r="r" b="b"/>
                <a:pathLst>
                  <a:path w="480" h="146" extrusionOk="0">
                    <a:moveTo>
                      <a:pt x="0" y="0"/>
                    </a:moveTo>
                    <a:lnTo>
                      <a:pt x="55" y="145"/>
                    </a:lnTo>
                    <a:lnTo>
                      <a:pt x="407" y="145"/>
                    </a:lnTo>
                    <a:lnTo>
                      <a:pt x="479" y="0"/>
                    </a:lnTo>
                    <a:lnTo>
                      <a:pt x="0" y="0"/>
                    </a:lnTo>
                  </a:path>
                </a:pathLst>
              </a:custGeom>
              <a:solidFill>
                <a:schemeClr val="accent2"/>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Tx/>
                  <a:buSzPts val="1800"/>
                  <a:buFontTx/>
                  <a:buNone/>
                  <a:tabLst/>
                  <a:defRPr/>
                </a:pPr>
                <a:endParaRPr kumimoji="0" sz="1800" b="0" i="0" u="none" strike="noStrike" kern="1200" cap="none" spc="0" normalizeH="0" baseline="0" noProof="0" dirty="0">
                  <a:ln>
                    <a:noFill/>
                  </a:ln>
                  <a:solidFill>
                    <a:srgbClr val="181818"/>
                  </a:solidFill>
                  <a:effectLst/>
                  <a:uLnTx/>
                  <a:uFillTx/>
                  <a:latin typeface="Open Sans"/>
                  <a:ea typeface="+mn-ea"/>
                  <a:cs typeface="+mn-cs"/>
                </a:endParaRPr>
              </a:p>
            </p:txBody>
          </p:sp>
        </p:grpSp>
        <p:sp>
          <p:nvSpPr>
            <p:cNvPr id="27" name="Google Shape;25;p3">
              <a:extLst>
                <a:ext uri="{FF2B5EF4-FFF2-40B4-BE49-F238E27FC236}">
                  <a16:creationId xmlns:a16="http://schemas.microsoft.com/office/drawing/2014/main" id="{DCBFD186-11D4-4EC6-B936-339584A7805A}"/>
                </a:ext>
              </a:extLst>
            </p:cNvPr>
            <p:cNvSpPr/>
            <p:nvPr/>
          </p:nvSpPr>
          <p:spPr>
            <a:xfrm>
              <a:off x="3441258" y="2467339"/>
              <a:ext cx="1624033" cy="1452729"/>
            </a:xfrm>
            <a:custGeom>
              <a:avLst/>
              <a:gdLst/>
              <a:ahLst/>
              <a:cxnLst/>
              <a:rect l="l" t="t" r="r" b="b"/>
              <a:pathLst>
                <a:path w="4266" h="3813" extrusionOk="0">
                  <a:moveTo>
                    <a:pt x="4265" y="325"/>
                  </a:moveTo>
                  <a:lnTo>
                    <a:pt x="4265" y="325"/>
                  </a:lnTo>
                  <a:cubicBezTo>
                    <a:pt x="4265" y="3812"/>
                    <a:pt x="4265" y="3812"/>
                    <a:pt x="4265" y="3812"/>
                  </a:cubicBezTo>
                  <a:cubicBezTo>
                    <a:pt x="452" y="3812"/>
                    <a:pt x="452" y="3812"/>
                    <a:pt x="452" y="3812"/>
                  </a:cubicBezTo>
                  <a:cubicBezTo>
                    <a:pt x="452" y="2051"/>
                    <a:pt x="452" y="2051"/>
                    <a:pt x="452" y="2051"/>
                  </a:cubicBezTo>
                  <a:cubicBezTo>
                    <a:pt x="434" y="2042"/>
                    <a:pt x="416" y="2033"/>
                    <a:pt x="380" y="2033"/>
                  </a:cubicBezTo>
                  <a:cubicBezTo>
                    <a:pt x="361" y="2033"/>
                    <a:pt x="352" y="2033"/>
                    <a:pt x="335" y="2033"/>
                  </a:cubicBezTo>
                  <a:cubicBezTo>
                    <a:pt x="298" y="2105"/>
                    <a:pt x="253" y="2150"/>
                    <a:pt x="190" y="2150"/>
                  </a:cubicBezTo>
                  <a:cubicBezTo>
                    <a:pt x="91" y="2150"/>
                    <a:pt x="0" y="2005"/>
                    <a:pt x="0" y="1816"/>
                  </a:cubicBezTo>
                  <a:cubicBezTo>
                    <a:pt x="0" y="1626"/>
                    <a:pt x="91" y="1472"/>
                    <a:pt x="190" y="1472"/>
                  </a:cubicBezTo>
                  <a:cubicBezTo>
                    <a:pt x="253" y="1472"/>
                    <a:pt x="298" y="1518"/>
                    <a:pt x="335" y="1590"/>
                  </a:cubicBezTo>
                  <a:cubicBezTo>
                    <a:pt x="352" y="1599"/>
                    <a:pt x="361" y="1599"/>
                    <a:pt x="380" y="1599"/>
                  </a:cubicBezTo>
                  <a:cubicBezTo>
                    <a:pt x="416" y="1599"/>
                    <a:pt x="443" y="1590"/>
                    <a:pt x="452" y="1581"/>
                  </a:cubicBezTo>
                  <a:cubicBezTo>
                    <a:pt x="452" y="0"/>
                    <a:pt x="452" y="0"/>
                    <a:pt x="452" y="0"/>
                  </a:cubicBezTo>
                  <a:cubicBezTo>
                    <a:pt x="3931" y="0"/>
                    <a:pt x="3931" y="0"/>
                    <a:pt x="3931" y="0"/>
                  </a:cubicBezTo>
                  <a:cubicBezTo>
                    <a:pt x="4111" y="0"/>
                    <a:pt x="4265" y="144"/>
                    <a:pt x="4265" y="325"/>
                  </a:cubicBezTo>
                </a:path>
              </a:pathLst>
            </a:custGeom>
            <a:solidFill>
              <a:schemeClr val="accent3"/>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Open Sans"/>
                <a:ea typeface="Arial"/>
                <a:cs typeface="Arial"/>
                <a:sym typeface="Arial"/>
              </a:endParaRPr>
            </a:p>
          </p:txBody>
        </p:sp>
        <p:sp>
          <p:nvSpPr>
            <p:cNvPr id="28" name="Google Shape;26;p3">
              <a:extLst>
                <a:ext uri="{FF2B5EF4-FFF2-40B4-BE49-F238E27FC236}">
                  <a16:creationId xmlns:a16="http://schemas.microsoft.com/office/drawing/2014/main" id="{F40289C2-875C-4F0A-9A01-01393C8A2A8D}"/>
                </a:ext>
              </a:extLst>
            </p:cNvPr>
            <p:cNvSpPr/>
            <p:nvPr/>
          </p:nvSpPr>
          <p:spPr>
            <a:xfrm>
              <a:off x="3607979" y="3730915"/>
              <a:ext cx="1452729" cy="1624034"/>
            </a:xfrm>
            <a:custGeom>
              <a:avLst/>
              <a:gdLst/>
              <a:ahLst/>
              <a:cxnLst/>
              <a:rect l="l" t="t" r="r" b="b"/>
              <a:pathLst>
                <a:path w="3814" h="4266" extrusionOk="0">
                  <a:moveTo>
                    <a:pt x="2141" y="461"/>
                  </a:moveTo>
                  <a:lnTo>
                    <a:pt x="2141" y="461"/>
                  </a:lnTo>
                  <a:cubicBezTo>
                    <a:pt x="2132" y="443"/>
                    <a:pt x="2123" y="415"/>
                    <a:pt x="2123" y="379"/>
                  </a:cubicBezTo>
                  <a:cubicBezTo>
                    <a:pt x="2123" y="361"/>
                    <a:pt x="2123" y="343"/>
                    <a:pt x="2132" y="334"/>
                  </a:cubicBezTo>
                  <a:cubicBezTo>
                    <a:pt x="2205" y="298"/>
                    <a:pt x="2250" y="244"/>
                    <a:pt x="2250" y="190"/>
                  </a:cubicBezTo>
                  <a:cubicBezTo>
                    <a:pt x="2250" y="81"/>
                    <a:pt x="2096" y="0"/>
                    <a:pt x="1907" y="0"/>
                  </a:cubicBezTo>
                  <a:cubicBezTo>
                    <a:pt x="1717" y="0"/>
                    <a:pt x="1563" y="81"/>
                    <a:pt x="1563" y="190"/>
                  </a:cubicBezTo>
                  <a:cubicBezTo>
                    <a:pt x="1563" y="244"/>
                    <a:pt x="1608" y="298"/>
                    <a:pt x="1680" y="334"/>
                  </a:cubicBezTo>
                  <a:cubicBezTo>
                    <a:pt x="1690" y="343"/>
                    <a:pt x="1690" y="361"/>
                    <a:pt x="1690" y="379"/>
                  </a:cubicBezTo>
                  <a:cubicBezTo>
                    <a:pt x="1690" y="415"/>
                    <a:pt x="1680" y="443"/>
                    <a:pt x="1672" y="461"/>
                  </a:cubicBezTo>
                  <a:cubicBezTo>
                    <a:pt x="0" y="461"/>
                    <a:pt x="0" y="461"/>
                    <a:pt x="0" y="461"/>
                  </a:cubicBezTo>
                  <a:cubicBezTo>
                    <a:pt x="0" y="4265"/>
                    <a:pt x="0" y="4265"/>
                    <a:pt x="0" y="4265"/>
                  </a:cubicBezTo>
                  <a:cubicBezTo>
                    <a:pt x="3479" y="4265"/>
                    <a:pt x="3479" y="4265"/>
                    <a:pt x="3479" y="4265"/>
                  </a:cubicBezTo>
                  <a:cubicBezTo>
                    <a:pt x="3659" y="4265"/>
                    <a:pt x="3813" y="4120"/>
                    <a:pt x="3813" y="3939"/>
                  </a:cubicBezTo>
                  <a:cubicBezTo>
                    <a:pt x="3813" y="461"/>
                    <a:pt x="3813" y="461"/>
                    <a:pt x="3813" y="461"/>
                  </a:cubicBezTo>
                  <a:lnTo>
                    <a:pt x="2141" y="461"/>
                  </a:lnTo>
                </a:path>
              </a:pathLst>
            </a:custGeom>
            <a:solidFill>
              <a:schemeClr val="accent6"/>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Open Sans"/>
                <a:ea typeface="Arial"/>
                <a:cs typeface="Arial"/>
                <a:sym typeface="Arial"/>
              </a:endParaRPr>
            </a:p>
          </p:txBody>
        </p:sp>
        <p:sp>
          <p:nvSpPr>
            <p:cNvPr id="29" name="Google Shape;28;p3">
              <a:extLst>
                <a:ext uri="{FF2B5EF4-FFF2-40B4-BE49-F238E27FC236}">
                  <a16:creationId xmlns:a16="http://schemas.microsoft.com/office/drawing/2014/main" id="{82AEE9D3-4C72-46B2-95D0-916AAB5E8E31}"/>
                </a:ext>
              </a:extLst>
            </p:cNvPr>
            <p:cNvSpPr/>
            <p:nvPr/>
          </p:nvSpPr>
          <p:spPr>
            <a:xfrm>
              <a:off x="2005413" y="3730915"/>
              <a:ext cx="1797027" cy="1624033"/>
            </a:xfrm>
            <a:custGeom>
              <a:avLst/>
              <a:gdLst/>
              <a:ahLst/>
              <a:cxnLst/>
              <a:rect l="l" t="t" r="r" b="b"/>
              <a:pathLst>
                <a:path w="4717" h="4266" extrusionOk="0">
                  <a:moveTo>
                    <a:pt x="4526" y="2024"/>
                  </a:moveTo>
                  <a:lnTo>
                    <a:pt x="4526" y="2024"/>
                  </a:lnTo>
                  <a:cubicBezTo>
                    <a:pt x="4472" y="2024"/>
                    <a:pt x="4417" y="2069"/>
                    <a:pt x="4381" y="2141"/>
                  </a:cubicBezTo>
                  <a:cubicBezTo>
                    <a:pt x="4372" y="2141"/>
                    <a:pt x="4354" y="2141"/>
                    <a:pt x="4336" y="2141"/>
                  </a:cubicBezTo>
                  <a:cubicBezTo>
                    <a:pt x="4309" y="2141"/>
                    <a:pt x="4283" y="2132"/>
                    <a:pt x="4265" y="2123"/>
                  </a:cubicBezTo>
                  <a:cubicBezTo>
                    <a:pt x="4265" y="461"/>
                    <a:pt x="4265" y="461"/>
                    <a:pt x="4265" y="461"/>
                  </a:cubicBezTo>
                  <a:cubicBezTo>
                    <a:pt x="2593" y="461"/>
                    <a:pt x="2593" y="461"/>
                    <a:pt x="2593" y="461"/>
                  </a:cubicBezTo>
                  <a:cubicBezTo>
                    <a:pt x="2593" y="443"/>
                    <a:pt x="2575" y="415"/>
                    <a:pt x="2575" y="379"/>
                  </a:cubicBezTo>
                  <a:cubicBezTo>
                    <a:pt x="2575" y="361"/>
                    <a:pt x="2584" y="343"/>
                    <a:pt x="2584" y="334"/>
                  </a:cubicBezTo>
                  <a:cubicBezTo>
                    <a:pt x="2656" y="298"/>
                    <a:pt x="2702" y="244"/>
                    <a:pt x="2702" y="190"/>
                  </a:cubicBezTo>
                  <a:cubicBezTo>
                    <a:pt x="2702" y="81"/>
                    <a:pt x="2548" y="0"/>
                    <a:pt x="2358" y="0"/>
                  </a:cubicBezTo>
                  <a:cubicBezTo>
                    <a:pt x="2169" y="0"/>
                    <a:pt x="2024" y="81"/>
                    <a:pt x="2024" y="190"/>
                  </a:cubicBezTo>
                  <a:cubicBezTo>
                    <a:pt x="2024" y="244"/>
                    <a:pt x="2069" y="298"/>
                    <a:pt x="2141" y="334"/>
                  </a:cubicBezTo>
                  <a:cubicBezTo>
                    <a:pt x="2141" y="343"/>
                    <a:pt x="2141" y="361"/>
                    <a:pt x="2141" y="379"/>
                  </a:cubicBezTo>
                  <a:cubicBezTo>
                    <a:pt x="2141" y="415"/>
                    <a:pt x="2132" y="443"/>
                    <a:pt x="2123" y="461"/>
                  </a:cubicBezTo>
                  <a:cubicBezTo>
                    <a:pt x="461" y="461"/>
                    <a:pt x="461" y="461"/>
                    <a:pt x="461" y="461"/>
                  </a:cubicBezTo>
                  <a:cubicBezTo>
                    <a:pt x="461" y="2123"/>
                    <a:pt x="461" y="2123"/>
                    <a:pt x="461" y="2123"/>
                  </a:cubicBezTo>
                  <a:cubicBezTo>
                    <a:pt x="443" y="2132"/>
                    <a:pt x="416" y="2141"/>
                    <a:pt x="379" y="2141"/>
                  </a:cubicBezTo>
                  <a:cubicBezTo>
                    <a:pt x="370" y="2141"/>
                    <a:pt x="352" y="2141"/>
                    <a:pt x="334" y="2141"/>
                  </a:cubicBezTo>
                  <a:cubicBezTo>
                    <a:pt x="307" y="2069"/>
                    <a:pt x="253" y="2024"/>
                    <a:pt x="190" y="2024"/>
                  </a:cubicBezTo>
                  <a:cubicBezTo>
                    <a:pt x="90" y="2024"/>
                    <a:pt x="0" y="2168"/>
                    <a:pt x="0" y="2358"/>
                  </a:cubicBezTo>
                  <a:cubicBezTo>
                    <a:pt x="0" y="2548"/>
                    <a:pt x="90" y="2701"/>
                    <a:pt x="190" y="2701"/>
                  </a:cubicBezTo>
                  <a:cubicBezTo>
                    <a:pt x="253" y="2701"/>
                    <a:pt x="307" y="2656"/>
                    <a:pt x="334" y="2584"/>
                  </a:cubicBezTo>
                  <a:cubicBezTo>
                    <a:pt x="352" y="2575"/>
                    <a:pt x="370" y="2575"/>
                    <a:pt x="388" y="2575"/>
                  </a:cubicBezTo>
                  <a:cubicBezTo>
                    <a:pt x="416" y="2575"/>
                    <a:pt x="443" y="2584"/>
                    <a:pt x="461" y="2593"/>
                  </a:cubicBezTo>
                  <a:cubicBezTo>
                    <a:pt x="461" y="4265"/>
                    <a:pt x="461" y="4265"/>
                    <a:pt x="461" y="4265"/>
                  </a:cubicBezTo>
                  <a:cubicBezTo>
                    <a:pt x="4265" y="4265"/>
                    <a:pt x="4265" y="4265"/>
                    <a:pt x="4265" y="4265"/>
                  </a:cubicBezTo>
                  <a:cubicBezTo>
                    <a:pt x="4265" y="2593"/>
                    <a:pt x="4265" y="2593"/>
                    <a:pt x="4265" y="2593"/>
                  </a:cubicBezTo>
                  <a:cubicBezTo>
                    <a:pt x="4283" y="2584"/>
                    <a:pt x="4300" y="2575"/>
                    <a:pt x="4336" y="2575"/>
                  </a:cubicBezTo>
                  <a:cubicBezTo>
                    <a:pt x="4354" y="2575"/>
                    <a:pt x="4372" y="2575"/>
                    <a:pt x="4381" y="2584"/>
                  </a:cubicBezTo>
                  <a:cubicBezTo>
                    <a:pt x="4417" y="2656"/>
                    <a:pt x="4472" y="2701"/>
                    <a:pt x="4526" y="2701"/>
                  </a:cubicBezTo>
                  <a:cubicBezTo>
                    <a:pt x="4634" y="2701"/>
                    <a:pt x="4716" y="2548"/>
                    <a:pt x="4716" y="2358"/>
                  </a:cubicBezTo>
                  <a:cubicBezTo>
                    <a:pt x="4716" y="2168"/>
                    <a:pt x="4634" y="2024"/>
                    <a:pt x="4526" y="2024"/>
                  </a:cubicBezTo>
                </a:path>
              </a:pathLst>
            </a:custGeom>
            <a:solidFill>
              <a:schemeClr val="accent5"/>
            </a:solidFill>
            <a:ln>
              <a:noFill/>
            </a:ln>
          </p:spPr>
          <p:txBody>
            <a:bodyPr spcFirstLastPara="1" wrap="square" lIns="91425" tIns="45700" rIns="91425" bIns="45700" anchor="ctr" anchorCtr="0">
              <a:noAutofit/>
            </a:bodyPr>
            <a:lstStyle/>
            <a:p>
              <a:pPr marL="0" marR="0" lvl="0" indent="0" algn="l" defTabSz="4572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1200" cap="none" spc="0" normalizeH="0" baseline="0" noProof="0" dirty="0">
                <a:ln>
                  <a:noFill/>
                </a:ln>
                <a:solidFill>
                  <a:srgbClr val="000000"/>
                </a:solidFill>
                <a:effectLst/>
                <a:uLnTx/>
                <a:uFillTx/>
                <a:latin typeface="Open Sans"/>
                <a:ea typeface="Arial"/>
                <a:cs typeface="Arial"/>
                <a:sym typeface="Arial"/>
              </a:endParaRPr>
            </a:p>
          </p:txBody>
        </p:sp>
      </p:grpSp>
      <p:sp>
        <p:nvSpPr>
          <p:cNvPr id="12" name="TextBox 11">
            <a:extLst>
              <a:ext uri="{FF2B5EF4-FFF2-40B4-BE49-F238E27FC236}">
                <a16:creationId xmlns:a16="http://schemas.microsoft.com/office/drawing/2014/main" id="{BC5A5C81-A176-4702-8A0F-7E8ECA256122}"/>
              </a:ext>
            </a:extLst>
          </p:cNvPr>
          <p:cNvSpPr txBox="1"/>
          <p:nvPr/>
        </p:nvSpPr>
        <p:spPr>
          <a:xfrm>
            <a:off x="4081928" y="2802519"/>
            <a:ext cx="167025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Emerging Technologies</a:t>
            </a:r>
          </a:p>
        </p:txBody>
      </p:sp>
      <p:sp>
        <p:nvSpPr>
          <p:cNvPr id="13" name="TextBox 12">
            <a:extLst>
              <a:ext uri="{FF2B5EF4-FFF2-40B4-BE49-F238E27FC236}">
                <a16:creationId xmlns:a16="http://schemas.microsoft.com/office/drawing/2014/main" id="{3C93CF1A-9F92-4992-893D-C6C6A8BC336B}"/>
              </a:ext>
            </a:extLst>
          </p:cNvPr>
          <p:cNvSpPr txBox="1"/>
          <p:nvPr/>
        </p:nvSpPr>
        <p:spPr>
          <a:xfrm>
            <a:off x="4081928" y="4893187"/>
            <a:ext cx="167025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Data Mapping Procedures</a:t>
            </a:r>
          </a:p>
        </p:txBody>
      </p:sp>
      <p:sp>
        <p:nvSpPr>
          <p:cNvPr id="14" name="TextBox 13">
            <a:extLst>
              <a:ext uri="{FF2B5EF4-FFF2-40B4-BE49-F238E27FC236}">
                <a16:creationId xmlns:a16="http://schemas.microsoft.com/office/drawing/2014/main" id="{1C1129F3-45B6-4842-92B6-3B9D594D7365}"/>
              </a:ext>
            </a:extLst>
          </p:cNvPr>
          <p:cNvSpPr txBox="1"/>
          <p:nvPr/>
        </p:nvSpPr>
        <p:spPr>
          <a:xfrm>
            <a:off x="2210735" y="2802519"/>
            <a:ext cx="167025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Conduct a Tabletop Exercise</a:t>
            </a:r>
          </a:p>
        </p:txBody>
      </p:sp>
      <p:sp>
        <p:nvSpPr>
          <p:cNvPr id="15" name="TextBox 14">
            <a:extLst>
              <a:ext uri="{FF2B5EF4-FFF2-40B4-BE49-F238E27FC236}">
                <a16:creationId xmlns:a16="http://schemas.microsoft.com/office/drawing/2014/main" id="{9AAAB356-3F13-4BF0-B3DD-4480924AB9A4}"/>
              </a:ext>
            </a:extLst>
          </p:cNvPr>
          <p:cNvSpPr txBox="1"/>
          <p:nvPr/>
        </p:nvSpPr>
        <p:spPr>
          <a:xfrm>
            <a:off x="326985" y="2914957"/>
            <a:ext cx="167025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Review Incident Response Plan</a:t>
            </a:r>
          </a:p>
        </p:txBody>
      </p:sp>
      <p:sp>
        <p:nvSpPr>
          <p:cNvPr id="16" name="TextBox 15">
            <a:extLst>
              <a:ext uri="{FF2B5EF4-FFF2-40B4-BE49-F238E27FC236}">
                <a16:creationId xmlns:a16="http://schemas.microsoft.com/office/drawing/2014/main" id="{C27EEBEE-DD3A-4BE6-AB4F-FD27B6C7390F}"/>
              </a:ext>
            </a:extLst>
          </p:cNvPr>
          <p:cNvSpPr txBox="1"/>
          <p:nvPr/>
        </p:nvSpPr>
        <p:spPr>
          <a:xfrm>
            <a:off x="326985" y="5005625"/>
            <a:ext cx="1670258"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Vendor Management</a:t>
            </a:r>
          </a:p>
        </p:txBody>
      </p:sp>
      <p:sp>
        <p:nvSpPr>
          <p:cNvPr id="17" name="TextBox 16">
            <a:extLst>
              <a:ext uri="{FF2B5EF4-FFF2-40B4-BE49-F238E27FC236}">
                <a16:creationId xmlns:a16="http://schemas.microsoft.com/office/drawing/2014/main" id="{5F0A04B8-2B25-4528-9F4D-7878734BE338}"/>
              </a:ext>
            </a:extLst>
          </p:cNvPr>
          <p:cNvSpPr txBox="1"/>
          <p:nvPr/>
        </p:nvSpPr>
        <p:spPr>
          <a:xfrm>
            <a:off x="2219534" y="5005625"/>
            <a:ext cx="167025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Cyber Insurance</a:t>
            </a:r>
          </a:p>
        </p:txBody>
      </p:sp>
      <p:pic>
        <p:nvPicPr>
          <p:cNvPr id="18" name="Graphic 17">
            <a:extLst>
              <a:ext uri="{FF2B5EF4-FFF2-40B4-BE49-F238E27FC236}">
                <a16:creationId xmlns:a16="http://schemas.microsoft.com/office/drawing/2014/main" id="{7ABF1BE2-C339-4A66-9C9C-8F6FB8A68BC8}"/>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4535283" y="2017621"/>
            <a:ext cx="763547" cy="763547"/>
          </a:xfrm>
          <a:prstGeom prst="rect">
            <a:avLst/>
          </a:prstGeom>
        </p:spPr>
      </p:pic>
      <p:pic>
        <p:nvPicPr>
          <p:cNvPr id="19" name="Graphic 18" descr="Shield Tick with solid fill">
            <a:extLst>
              <a:ext uri="{FF2B5EF4-FFF2-40B4-BE49-F238E27FC236}">
                <a16:creationId xmlns:a16="http://schemas.microsoft.com/office/drawing/2014/main" id="{838D4EE4-ED68-4B6E-87F6-DBCCF73A4B3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664091" y="2017621"/>
            <a:ext cx="763547" cy="763547"/>
          </a:xfrm>
          <a:prstGeom prst="rect">
            <a:avLst/>
          </a:prstGeom>
        </p:spPr>
      </p:pic>
      <p:pic>
        <p:nvPicPr>
          <p:cNvPr id="20" name="Graphic 19">
            <a:extLst>
              <a:ext uri="{FF2B5EF4-FFF2-40B4-BE49-F238E27FC236}">
                <a16:creationId xmlns:a16="http://schemas.microsoft.com/office/drawing/2014/main" id="{8B6BA565-F97F-4663-A4A8-399C795FFFAA}"/>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780341" y="2017621"/>
            <a:ext cx="763547" cy="763547"/>
          </a:xfrm>
          <a:prstGeom prst="rect">
            <a:avLst/>
          </a:prstGeom>
        </p:spPr>
      </p:pic>
      <p:pic>
        <p:nvPicPr>
          <p:cNvPr id="21" name="Graphic 20" descr="Exit with solid fill">
            <a:extLst>
              <a:ext uri="{FF2B5EF4-FFF2-40B4-BE49-F238E27FC236}">
                <a16:creationId xmlns:a16="http://schemas.microsoft.com/office/drawing/2014/main" id="{468A1753-A107-42AB-B540-D83EF265F6A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80341" y="4089746"/>
            <a:ext cx="763547" cy="763547"/>
          </a:xfrm>
          <a:prstGeom prst="rect">
            <a:avLst/>
          </a:prstGeom>
        </p:spPr>
      </p:pic>
      <p:pic>
        <p:nvPicPr>
          <p:cNvPr id="22" name="Graphic 21" descr="Research with solid fill">
            <a:extLst>
              <a:ext uri="{FF2B5EF4-FFF2-40B4-BE49-F238E27FC236}">
                <a16:creationId xmlns:a16="http://schemas.microsoft.com/office/drawing/2014/main" id="{629FB804-167B-4360-ACAC-33B9BFD070A4}"/>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a:off x="4552260" y="4089746"/>
            <a:ext cx="763547" cy="763547"/>
          </a:xfrm>
          <a:prstGeom prst="rect">
            <a:avLst/>
          </a:prstGeom>
        </p:spPr>
      </p:pic>
      <p:pic>
        <p:nvPicPr>
          <p:cNvPr id="23" name="Graphic 22" descr="Checklist outline">
            <a:extLst>
              <a:ext uri="{FF2B5EF4-FFF2-40B4-BE49-F238E27FC236}">
                <a16:creationId xmlns:a16="http://schemas.microsoft.com/office/drawing/2014/main" id="{14A2D2D4-0A57-489C-A4B6-9BDB2CC6703E}"/>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2664091" y="4089746"/>
            <a:ext cx="763547" cy="763547"/>
          </a:xfrm>
          <a:prstGeom prst="rect">
            <a:avLst/>
          </a:prstGeom>
        </p:spPr>
      </p:pic>
      <p:sp>
        <p:nvSpPr>
          <p:cNvPr id="7" name="TextBox 6">
            <a:extLst>
              <a:ext uri="{FF2B5EF4-FFF2-40B4-BE49-F238E27FC236}">
                <a16:creationId xmlns:a16="http://schemas.microsoft.com/office/drawing/2014/main" id="{1CABB7F4-24D4-4395-9157-6B1AF56333BD}"/>
              </a:ext>
            </a:extLst>
          </p:cNvPr>
          <p:cNvSpPr txBox="1"/>
          <p:nvPr/>
        </p:nvSpPr>
        <p:spPr>
          <a:xfrm>
            <a:off x="6593304" y="2867456"/>
            <a:ext cx="543827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59B4C"/>
                </a:solidFill>
                <a:effectLst/>
                <a:uLnTx/>
                <a:uFillTx/>
                <a:latin typeface="Open Sans (Body)"/>
                <a:ea typeface="Open Sans" panose="020B0606030504020204" pitchFamily="34" charset="0"/>
                <a:cs typeface="Poppins" panose="00000500000000000000" pitchFamily="2" charset="0"/>
              </a:rPr>
              <a:t>Assess Emerging Technologies</a:t>
            </a:r>
            <a:endParaRPr kumimoji="0" lang="en-US" sz="1600" b="1" i="0" u="none" strike="noStrike" kern="1200" cap="none" spc="0" normalizeH="0" baseline="0" noProof="0" dirty="0">
              <a:ln>
                <a:noFill/>
              </a:ln>
              <a:solidFill>
                <a:srgbClr val="359B4C"/>
              </a:solidFill>
              <a:effectLst/>
              <a:uLnTx/>
              <a:uFillTx/>
              <a:latin typeface="Open Sans (Body)"/>
              <a:ea typeface="Open Sans" panose="020B0606030504020204" pitchFamily="34" charset="0"/>
              <a:cs typeface="Poppins"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rPr>
              <a:t>Evaluate options for new technologies (AI, etc.) to improve cybersecurity posture.</a:t>
            </a:r>
            <a:endParaRPr kumimoji="0" lang="en-US" sz="18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endParaRPr>
          </a:p>
        </p:txBody>
      </p:sp>
      <p:sp>
        <p:nvSpPr>
          <p:cNvPr id="5" name="TextBox 4">
            <a:extLst>
              <a:ext uri="{FF2B5EF4-FFF2-40B4-BE49-F238E27FC236}">
                <a16:creationId xmlns:a16="http://schemas.microsoft.com/office/drawing/2014/main" id="{1DF1A6AF-1C4A-4DA7-B42F-D61B8536A2B7}"/>
              </a:ext>
            </a:extLst>
          </p:cNvPr>
          <p:cNvSpPr txBox="1"/>
          <p:nvPr/>
        </p:nvSpPr>
        <p:spPr>
          <a:xfrm>
            <a:off x="6593303" y="1072678"/>
            <a:ext cx="543827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D52B1E"/>
                </a:solidFill>
                <a:effectLst/>
                <a:uLnTx/>
                <a:uFillTx/>
                <a:latin typeface="Open Sans (Body)"/>
                <a:ea typeface="Open Sans" panose="020B0606030504020204" pitchFamily="34" charset="0"/>
                <a:cs typeface="Poppins" panose="00000500000000000000" pitchFamily="2" charset="0"/>
              </a:rPr>
              <a:t>Incident Response Plan Review </a:t>
            </a:r>
            <a:endParaRPr kumimoji="0" lang="en-US" sz="1600" b="1" i="0" u="none" strike="noStrike" kern="1200" cap="none" spc="0" normalizeH="0" baseline="0" noProof="0" dirty="0">
              <a:ln>
                <a:noFill/>
              </a:ln>
              <a:solidFill>
                <a:srgbClr val="D52B1E"/>
              </a:solidFill>
              <a:effectLst/>
              <a:uLnTx/>
              <a:uFillTx/>
              <a:latin typeface="Open Sans (Body)"/>
              <a:ea typeface="Open Sans" panose="020B0606030504020204" pitchFamily="34" charset="0"/>
              <a:cs typeface="Poppins"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rPr>
              <a:t>Review written plan for responding to cyber incidents + identify third-party vendors who may assist.</a:t>
            </a:r>
            <a:endParaRPr kumimoji="0" lang="en-US" sz="1800" b="1"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endParaRPr>
          </a:p>
        </p:txBody>
      </p:sp>
      <p:sp>
        <p:nvSpPr>
          <p:cNvPr id="33" name="Rectangle: Rounded Corners 32">
            <a:extLst>
              <a:ext uri="{FF2B5EF4-FFF2-40B4-BE49-F238E27FC236}">
                <a16:creationId xmlns:a16="http://schemas.microsoft.com/office/drawing/2014/main" id="{EE8B4A4B-A471-412D-835A-CF8DA5312C9A}"/>
              </a:ext>
            </a:extLst>
          </p:cNvPr>
          <p:cNvSpPr/>
          <p:nvPr/>
        </p:nvSpPr>
        <p:spPr>
          <a:xfrm>
            <a:off x="6364705" y="1196760"/>
            <a:ext cx="48127" cy="613611"/>
          </a:xfrm>
          <a:prstGeom prst="roundRect">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6" name="TextBox 5">
            <a:extLst>
              <a:ext uri="{FF2B5EF4-FFF2-40B4-BE49-F238E27FC236}">
                <a16:creationId xmlns:a16="http://schemas.microsoft.com/office/drawing/2014/main" id="{F9E3CEF4-B011-4EA2-AD98-86C986CEF6E8}"/>
              </a:ext>
            </a:extLst>
          </p:cNvPr>
          <p:cNvSpPr txBox="1"/>
          <p:nvPr/>
        </p:nvSpPr>
        <p:spPr>
          <a:xfrm>
            <a:off x="6593304" y="1970067"/>
            <a:ext cx="5438275" cy="86177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9900"/>
                </a:solidFill>
                <a:effectLst/>
                <a:uLnTx/>
                <a:uFillTx/>
                <a:latin typeface="Open Sans (Body)"/>
                <a:ea typeface="Open Sans" panose="020B0606030504020204" pitchFamily="34" charset="0"/>
                <a:cs typeface="Poppins" panose="00000500000000000000" pitchFamily="2" charset="0"/>
              </a:rPr>
              <a:t>Conduct a Tabletop Exercise</a:t>
            </a:r>
            <a:endParaRPr kumimoji="0" lang="en-US" sz="1600" b="1" i="0" u="none" strike="noStrike" kern="1200" cap="none" spc="0" normalizeH="0" baseline="0" noProof="0" dirty="0">
              <a:ln>
                <a:noFill/>
              </a:ln>
              <a:solidFill>
                <a:srgbClr val="FF9900"/>
              </a:solidFill>
              <a:effectLst/>
              <a:uLnTx/>
              <a:uFillTx/>
              <a:latin typeface="Open Sans (Body)"/>
              <a:ea typeface="Open Sans" panose="020B0606030504020204" pitchFamily="34" charset="0"/>
              <a:cs typeface="Poppins"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rPr>
              <a:t>Conduct routine tabletop exercises to test its incident response plan.</a:t>
            </a:r>
            <a:endParaRPr kumimoji="0" lang="en-US" sz="1800" b="1" i="0" u="none" strike="noStrike" kern="1200" cap="none" spc="0" normalizeH="0" baseline="0" noProof="0" dirty="0">
              <a:ln>
                <a:noFill/>
              </a:ln>
              <a:solidFill>
                <a:srgbClr val="666666"/>
              </a:solidFill>
              <a:effectLst/>
              <a:uLnTx/>
              <a:uFillTx/>
              <a:latin typeface="Open Sans (Body)"/>
              <a:ea typeface="Open Sans" panose="020B0606030504020204" pitchFamily="34" charset="0"/>
              <a:cs typeface="Poppins" panose="00000500000000000000" pitchFamily="2" charset="0"/>
            </a:endParaRPr>
          </a:p>
        </p:txBody>
      </p:sp>
      <p:sp>
        <p:nvSpPr>
          <p:cNvPr id="34" name="Rectangle: Rounded Corners 33">
            <a:extLst>
              <a:ext uri="{FF2B5EF4-FFF2-40B4-BE49-F238E27FC236}">
                <a16:creationId xmlns:a16="http://schemas.microsoft.com/office/drawing/2014/main" id="{8DA1B590-180B-40A4-9A7D-A3F0E9098B97}"/>
              </a:ext>
            </a:extLst>
          </p:cNvPr>
          <p:cNvSpPr/>
          <p:nvPr/>
        </p:nvSpPr>
        <p:spPr>
          <a:xfrm>
            <a:off x="6364705" y="2087993"/>
            <a:ext cx="48127" cy="613611"/>
          </a:xfrm>
          <a:prstGeom prst="round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5" name="Rectangle: Rounded Corners 34">
            <a:extLst>
              <a:ext uri="{FF2B5EF4-FFF2-40B4-BE49-F238E27FC236}">
                <a16:creationId xmlns:a16="http://schemas.microsoft.com/office/drawing/2014/main" id="{7B3ACE59-12F2-4CEA-B1D5-DE3614B65852}"/>
              </a:ext>
            </a:extLst>
          </p:cNvPr>
          <p:cNvSpPr/>
          <p:nvPr/>
        </p:nvSpPr>
        <p:spPr>
          <a:xfrm>
            <a:off x="6364705" y="2979226"/>
            <a:ext cx="48127" cy="613611"/>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6" name="Rectangle: Rounded Corners 35">
            <a:extLst>
              <a:ext uri="{FF2B5EF4-FFF2-40B4-BE49-F238E27FC236}">
                <a16:creationId xmlns:a16="http://schemas.microsoft.com/office/drawing/2014/main" id="{69BAF0BD-D44E-4270-94C7-0FE158CC0756}"/>
              </a:ext>
            </a:extLst>
          </p:cNvPr>
          <p:cNvSpPr/>
          <p:nvPr/>
        </p:nvSpPr>
        <p:spPr>
          <a:xfrm>
            <a:off x="6364705" y="3870459"/>
            <a:ext cx="48127" cy="613611"/>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7" name="Rectangle: Rounded Corners 36">
            <a:extLst>
              <a:ext uri="{FF2B5EF4-FFF2-40B4-BE49-F238E27FC236}">
                <a16:creationId xmlns:a16="http://schemas.microsoft.com/office/drawing/2014/main" id="{DD6668D9-E713-4269-8EE3-B629207A6EC0}"/>
              </a:ext>
            </a:extLst>
          </p:cNvPr>
          <p:cNvSpPr/>
          <p:nvPr/>
        </p:nvSpPr>
        <p:spPr>
          <a:xfrm>
            <a:off x="6364705" y="4761692"/>
            <a:ext cx="48127" cy="613611"/>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38" name="Rectangle: Rounded Corners 37">
            <a:extLst>
              <a:ext uri="{FF2B5EF4-FFF2-40B4-BE49-F238E27FC236}">
                <a16:creationId xmlns:a16="http://schemas.microsoft.com/office/drawing/2014/main" id="{404BC868-E6B0-4092-A858-3653C48C58EC}"/>
              </a:ext>
            </a:extLst>
          </p:cNvPr>
          <p:cNvSpPr/>
          <p:nvPr/>
        </p:nvSpPr>
        <p:spPr>
          <a:xfrm>
            <a:off x="6364705" y="5652927"/>
            <a:ext cx="48127" cy="613611"/>
          </a:xfrm>
          <a:prstGeom prst="round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Tree>
    <p:extLst>
      <p:ext uri="{BB962C8B-B14F-4D97-AF65-F5344CB8AC3E}">
        <p14:creationId xmlns:p14="http://schemas.microsoft.com/office/powerpoint/2010/main" val="6274083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7FEE3E7-A81A-431C-B227-86207E787584}"/>
              </a:ext>
            </a:extLst>
          </p:cNvPr>
          <p:cNvSpPr>
            <a:spLocks noGrp="1"/>
          </p:cNvSpPr>
          <p:nvPr>
            <p:ph type="body" sz="quarter" idx="12"/>
          </p:nvPr>
        </p:nvSpPr>
        <p:spPr>
          <a:xfrm>
            <a:off x="276354" y="1519238"/>
            <a:ext cx="11430000" cy="1828800"/>
          </a:xfrm>
        </p:spPr>
        <p:txBody>
          <a:bodyPr anchor="b">
            <a:normAutofit/>
          </a:bodyPr>
          <a:lstStyle/>
          <a:p>
            <a:r>
              <a:rPr lang="en-US" dirty="0"/>
              <a:t>ABOUT US</a:t>
            </a:r>
          </a:p>
        </p:txBody>
      </p:sp>
    </p:spTree>
    <p:extLst>
      <p:ext uri="{BB962C8B-B14F-4D97-AF65-F5344CB8AC3E}">
        <p14:creationId xmlns:p14="http://schemas.microsoft.com/office/powerpoint/2010/main" val="2909043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89C37E68-B203-AB16-2832-8BA20A12EBE6}"/>
              </a:ext>
            </a:extLst>
          </p:cNvPr>
          <p:cNvPicPr>
            <a:picLocks noGrp="1" noChangeAspect="1"/>
          </p:cNvPicPr>
          <p:nvPr>
            <p:ph type="pic" sz="quarter" idx="10"/>
          </p:nvPr>
        </p:nvPicPr>
        <p:blipFill rotWithShape="1">
          <a:blip r:embed="rId3"/>
          <a:srcRect t="32838" b="33828"/>
          <a:stretch/>
        </p:blipFill>
        <p:spPr>
          <a:xfrm>
            <a:off x="0" y="0"/>
            <a:ext cx="12192000" cy="2286000"/>
          </a:xfrm>
        </p:spPr>
      </p:pic>
      <p:sp>
        <p:nvSpPr>
          <p:cNvPr id="3" name="Text Placeholder 2">
            <a:extLst>
              <a:ext uri="{FF2B5EF4-FFF2-40B4-BE49-F238E27FC236}">
                <a16:creationId xmlns:a16="http://schemas.microsoft.com/office/drawing/2014/main" id="{A5883F9E-B468-7F5D-0AFC-13D66DAFD42B}"/>
              </a:ext>
            </a:extLst>
          </p:cNvPr>
          <p:cNvSpPr>
            <a:spLocks noGrp="1"/>
          </p:cNvSpPr>
          <p:nvPr>
            <p:ph type="body" sz="quarter" idx="15"/>
          </p:nvPr>
        </p:nvSpPr>
        <p:spPr>
          <a:xfrm>
            <a:off x="390331" y="478997"/>
            <a:ext cx="8679241" cy="502920"/>
          </a:xfrm>
        </p:spPr>
        <p:txBody>
          <a:bodyPr/>
          <a:lstStyle/>
          <a:p>
            <a:r>
              <a:rPr lang="en-US" dirty="0"/>
              <a:t>BAKER DONELSON’S DATA PROTECTION, </a:t>
            </a:r>
            <a:br>
              <a:rPr lang="en-US" dirty="0"/>
            </a:br>
            <a:r>
              <a:rPr lang="en-US" dirty="0"/>
              <a:t>PRIVACY, AND CYBERSECURITY TEAM</a:t>
            </a:r>
          </a:p>
        </p:txBody>
      </p:sp>
      <p:sp>
        <p:nvSpPr>
          <p:cNvPr id="12" name="Text Placeholder 11">
            <a:extLst>
              <a:ext uri="{FF2B5EF4-FFF2-40B4-BE49-F238E27FC236}">
                <a16:creationId xmlns:a16="http://schemas.microsoft.com/office/drawing/2014/main" id="{43C33C6B-19D9-764A-7580-2B157D9E0881}"/>
              </a:ext>
            </a:extLst>
          </p:cNvPr>
          <p:cNvSpPr>
            <a:spLocks noGrp="1"/>
          </p:cNvSpPr>
          <p:nvPr>
            <p:ph type="body" sz="quarter" idx="16"/>
          </p:nvPr>
        </p:nvSpPr>
        <p:spPr>
          <a:xfrm>
            <a:off x="390331" y="1712695"/>
            <a:ext cx="6626289" cy="274320"/>
          </a:xfrm>
        </p:spPr>
        <p:txBody>
          <a:bodyPr/>
          <a:lstStyle/>
          <a:p>
            <a:r>
              <a:rPr lang="en-US" sz="1400" spc="300" dirty="0">
                <a:ea typeface="Open Sans Light" panose="020B0306030504020204" pitchFamily="34" charset="0"/>
                <a:cs typeface="Open Sans Light" panose="020B0306030504020204" pitchFamily="34" charset="0"/>
              </a:rPr>
              <a:t>WHAT WE DO</a:t>
            </a:r>
          </a:p>
        </p:txBody>
      </p:sp>
      <p:cxnSp>
        <p:nvCxnSpPr>
          <p:cNvPr id="13" name="Straight Connector 12">
            <a:extLst>
              <a:ext uri="{FF2B5EF4-FFF2-40B4-BE49-F238E27FC236}">
                <a16:creationId xmlns:a16="http://schemas.microsoft.com/office/drawing/2014/main" id="{3684E9DD-97BB-0F98-863C-2CBE338245CF}"/>
              </a:ext>
            </a:extLst>
          </p:cNvPr>
          <p:cNvCxnSpPr/>
          <p:nvPr/>
        </p:nvCxnSpPr>
        <p:spPr>
          <a:xfrm>
            <a:off x="520761" y="1483893"/>
            <a:ext cx="685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F8BF5029-75A5-B666-8653-3A188F76FBA9}"/>
              </a:ext>
            </a:extLst>
          </p:cNvPr>
          <p:cNvSpPr txBox="1"/>
          <p:nvPr/>
        </p:nvSpPr>
        <p:spPr>
          <a:xfrm>
            <a:off x="207586" y="3543689"/>
            <a:ext cx="192024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Data Privacy Compliance</a:t>
            </a:r>
          </a:p>
        </p:txBody>
      </p:sp>
      <p:sp>
        <p:nvSpPr>
          <p:cNvPr id="15" name="TextBox 14">
            <a:extLst>
              <a:ext uri="{FF2B5EF4-FFF2-40B4-BE49-F238E27FC236}">
                <a16:creationId xmlns:a16="http://schemas.microsoft.com/office/drawing/2014/main" id="{347E5D7F-DF5E-AA4F-8586-BA8DB10BFC57}"/>
              </a:ext>
            </a:extLst>
          </p:cNvPr>
          <p:cNvSpPr txBox="1"/>
          <p:nvPr/>
        </p:nvSpPr>
        <p:spPr>
          <a:xfrm>
            <a:off x="2194444" y="3543689"/>
            <a:ext cx="1736455"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Cybersecurity Readiness</a:t>
            </a:r>
          </a:p>
        </p:txBody>
      </p:sp>
      <p:sp>
        <p:nvSpPr>
          <p:cNvPr id="16" name="TextBox 15">
            <a:extLst>
              <a:ext uri="{FF2B5EF4-FFF2-40B4-BE49-F238E27FC236}">
                <a16:creationId xmlns:a16="http://schemas.microsoft.com/office/drawing/2014/main" id="{9D400788-7317-B47B-D597-2A3B64DA02EC}"/>
              </a:ext>
            </a:extLst>
          </p:cNvPr>
          <p:cNvSpPr txBox="1"/>
          <p:nvPr/>
        </p:nvSpPr>
        <p:spPr>
          <a:xfrm>
            <a:off x="4003916" y="3543689"/>
            <a:ext cx="192024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Tabletop Exercises &amp; Breach Simulations</a:t>
            </a:r>
          </a:p>
        </p:txBody>
      </p:sp>
      <p:sp>
        <p:nvSpPr>
          <p:cNvPr id="17" name="TextBox 16">
            <a:extLst>
              <a:ext uri="{FF2B5EF4-FFF2-40B4-BE49-F238E27FC236}">
                <a16:creationId xmlns:a16="http://schemas.microsoft.com/office/drawing/2014/main" id="{7F45523A-DD59-8501-C148-C4026390627A}"/>
              </a:ext>
            </a:extLst>
          </p:cNvPr>
          <p:cNvSpPr txBox="1"/>
          <p:nvPr/>
        </p:nvSpPr>
        <p:spPr>
          <a:xfrm>
            <a:off x="210334" y="5149258"/>
            <a:ext cx="1920240"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Data Incident and Breach Response</a:t>
            </a:r>
          </a:p>
        </p:txBody>
      </p:sp>
      <p:pic>
        <p:nvPicPr>
          <p:cNvPr id="18" name="Graphic 17">
            <a:extLst>
              <a:ext uri="{FF2B5EF4-FFF2-40B4-BE49-F238E27FC236}">
                <a16:creationId xmlns:a16="http://schemas.microsoft.com/office/drawing/2014/main" id="{6664A56F-98B2-F5E2-378E-2E626E9A645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33170" y="2948214"/>
            <a:ext cx="659005" cy="572768"/>
          </a:xfrm>
          <a:prstGeom prst="rect">
            <a:avLst/>
          </a:prstGeom>
        </p:spPr>
      </p:pic>
      <p:pic>
        <p:nvPicPr>
          <p:cNvPr id="19" name="Graphic 18">
            <a:extLst>
              <a:ext uri="{FF2B5EF4-FFF2-40B4-BE49-F238E27FC236}">
                <a16:creationId xmlns:a16="http://schemas.microsoft.com/office/drawing/2014/main" id="{6BDC5C63-32DF-F2CD-BEB7-7CB22748AB4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8159" y="2921887"/>
            <a:ext cx="599095" cy="599095"/>
          </a:xfrm>
          <a:prstGeom prst="rect">
            <a:avLst/>
          </a:prstGeom>
        </p:spPr>
      </p:pic>
      <p:sp>
        <p:nvSpPr>
          <p:cNvPr id="20" name="TextBox 19">
            <a:extLst>
              <a:ext uri="{FF2B5EF4-FFF2-40B4-BE49-F238E27FC236}">
                <a16:creationId xmlns:a16="http://schemas.microsoft.com/office/drawing/2014/main" id="{F4BCD0BE-C243-A947-452A-2C2F164244FD}"/>
              </a:ext>
            </a:extLst>
          </p:cNvPr>
          <p:cNvSpPr txBox="1"/>
          <p:nvPr/>
        </p:nvSpPr>
        <p:spPr>
          <a:xfrm>
            <a:off x="2102553" y="5149258"/>
            <a:ext cx="1920240"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Regulatory Enforcement and Litigation</a:t>
            </a:r>
          </a:p>
        </p:txBody>
      </p:sp>
      <p:sp>
        <p:nvSpPr>
          <p:cNvPr id="21" name="TextBox 20">
            <a:extLst>
              <a:ext uri="{FF2B5EF4-FFF2-40B4-BE49-F238E27FC236}">
                <a16:creationId xmlns:a16="http://schemas.microsoft.com/office/drawing/2014/main" id="{6D6DD2CA-D9EA-5433-EBE8-3CACDDCE2584}"/>
              </a:ext>
            </a:extLst>
          </p:cNvPr>
          <p:cNvSpPr txBox="1"/>
          <p:nvPr/>
        </p:nvSpPr>
        <p:spPr>
          <a:xfrm>
            <a:off x="3994772" y="5149258"/>
            <a:ext cx="1920240" cy="7386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Open Sans"/>
                <a:ea typeface="+mn-ea"/>
                <a:cs typeface="+mn-cs"/>
              </a:rPr>
              <a:t>Artificial Intelligence &amp; Emerging Technologies</a:t>
            </a:r>
          </a:p>
        </p:txBody>
      </p:sp>
      <p:sp>
        <p:nvSpPr>
          <p:cNvPr id="22" name="Rectangle 21">
            <a:extLst>
              <a:ext uri="{FF2B5EF4-FFF2-40B4-BE49-F238E27FC236}">
                <a16:creationId xmlns:a16="http://schemas.microsoft.com/office/drawing/2014/main" id="{CC704C84-3CB7-E485-BABE-AFEC40E25C96}"/>
              </a:ext>
            </a:extLst>
          </p:cNvPr>
          <p:cNvSpPr/>
          <p:nvPr/>
        </p:nvSpPr>
        <p:spPr>
          <a:xfrm>
            <a:off x="6267845" y="2635366"/>
            <a:ext cx="5705475" cy="36576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6983"/>
                </a:solidFill>
                <a:effectLst/>
                <a:uLnTx/>
                <a:uFillTx/>
                <a:latin typeface="Open Sans"/>
                <a:ea typeface="Times New Roman" panose="02020603050405020304" pitchFamily="18" charset="0"/>
                <a:cs typeface="+mn-cs"/>
              </a:rPr>
              <a:t>Overview of Proactive Services</a:t>
            </a:r>
            <a:endParaRPr kumimoji="0" lang="en-US" sz="1600" b="1" i="0" u="none" strike="noStrike" kern="1200" cap="none" spc="0" normalizeH="0" baseline="0" noProof="0" dirty="0">
              <a:ln>
                <a:noFill/>
              </a:ln>
              <a:solidFill>
                <a:srgbClr val="006983"/>
              </a:solidFill>
              <a:effectLst/>
              <a:uLnTx/>
              <a:uFillTx/>
              <a:latin typeface="Open Sans"/>
              <a:ea typeface="+mn-ea"/>
              <a:cs typeface="+mn-cs"/>
            </a:endParaRPr>
          </a:p>
        </p:txBody>
      </p:sp>
      <p:sp>
        <p:nvSpPr>
          <p:cNvPr id="23" name="TextBox 22">
            <a:extLst>
              <a:ext uri="{FF2B5EF4-FFF2-40B4-BE49-F238E27FC236}">
                <a16:creationId xmlns:a16="http://schemas.microsoft.com/office/drawing/2014/main" id="{62D08FDA-D0AF-AE9F-49D0-E6AF10F6BE12}"/>
              </a:ext>
            </a:extLst>
          </p:cNvPr>
          <p:cNvSpPr txBox="1"/>
          <p:nvPr/>
        </p:nvSpPr>
        <p:spPr>
          <a:xfrm>
            <a:off x="6677420" y="3032630"/>
            <a:ext cx="2713490" cy="3231654"/>
          </a:xfrm>
          <a:prstGeom prst="rect">
            <a:avLst/>
          </a:prstGeom>
          <a:noFill/>
        </p:spPr>
        <p:txBody>
          <a:bodyPr wrap="square" lIns="182880" rtlCol="0">
            <a:spAutoFit/>
          </a:bodyPr>
          <a:lstStyle/>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Data privacy and information security compliance pla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Website privacy policies and terms of use</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Incident response planning</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Tabletop exercise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Board level and c-suite training and guidance</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Business continuity and disaster recovery pla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International data transfer &amp; data protection agreements</a:t>
            </a:r>
          </a:p>
        </p:txBody>
      </p:sp>
      <p:sp>
        <p:nvSpPr>
          <p:cNvPr id="24" name="TextBox 23">
            <a:extLst>
              <a:ext uri="{FF2B5EF4-FFF2-40B4-BE49-F238E27FC236}">
                <a16:creationId xmlns:a16="http://schemas.microsoft.com/office/drawing/2014/main" id="{B31CD9B9-A5AC-44F0-0479-68EC2A1E2F81}"/>
              </a:ext>
            </a:extLst>
          </p:cNvPr>
          <p:cNvSpPr txBox="1"/>
          <p:nvPr/>
        </p:nvSpPr>
        <p:spPr>
          <a:xfrm>
            <a:off x="9390910" y="3032630"/>
            <a:ext cx="2552700" cy="3046988"/>
          </a:xfrm>
          <a:prstGeom prst="rect">
            <a:avLst/>
          </a:prstGeom>
          <a:noFill/>
        </p:spPr>
        <p:txBody>
          <a:bodyPr wrap="square" lIns="182880" rtlCol="0">
            <a:spAutoFit/>
          </a:bodyPr>
          <a:lstStyle/>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Document retention and destruction pla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Due diligence review for mergers and acquisitio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Cyber coverage analysis </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Vendor agreement preparation and review</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Crisis Communications</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Employee training</a:t>
            </a:r>
          </a:p>
          <a:p>
            <a:pPr marL="171450" marR="0" lvl="0" indent="-171450" algn="l" defTabSz="4572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66666"/>
                </a:solidFill>
                <a:effectLst/>
                <a:uLnTx/>
                <a:uFillTx/>
                <a:latin typeface="Open Sans"/>
                <a:ea typeface="+mn-ea"/>
                <a:cs typeface="+mn-cs"/>
              </a:rPr>
              <a:t>Employment and social media considerations</a:t>
            </a:r>
          </a:p>
        </p:txBody>
      </p:sp>
      <p:pic>
        <p:nvPicPr>
          <p:cNvPr id="25" name="Graphic 24" descr="Robot outline">
            <a:extLst>
              <a:ext uri="{FF2B5EF4-FFF2-40B4-BE49-F238E27FC236}">
                <a16:creationId xmlns:a16="http://schemas.microsoft.com/office/drawing/2014/main" id="{CD240FCA-A248-0E95-BEBA-3AB6E887AD6A}"/>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4627965" y="4465919"/>
            <a:ext cx="653855" cy="653855"/>
          </a:xfrm>
          <a:prstGeom prst="rect">
            <a:avLst/>
          </a:prstGeom>
        </p:spPr>
      </p:pic>
      <p:pic>
        <p:nvPicPr>
          <p:cNvPr id="26" name="Graphic 25">
            <a:extLst>
              <a:ext uri="{FF2B5EF4-FFF2-40B4-BE49-F238E27FC236}">
                <a16:creationId xmlns:a16="http://schemas.microsoft.com/office/drawing/2014/main" id="{F5A70BB4-2657-9674-E09E-282D30DC5E3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42633" y="4488520"/>
            <a:ext cx="640080" cy="633829"/>
          </a:xfrm>
          <a:prstGeom prst="rect">
            <a:avLst/>
          </a:prstGeom>
        </p:spPr>
      </p:pic>
      <p:pic>
        <p:nvPicPr>
          <p:cNvPr id="27" name="Graphic 26">
            <a:extLst>
              <a:ext uri="{FF2B5EF4-FFF2-40B4-BE49-F238E27FC236}">
                <a16:creationId xmlns:a16="http://schemas.microsoft.com/office/drawing/2014/main" id="{C266118A-1B78-C156-5A1E-F12F7C380D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674434" y="2861977"/>
            <a:ext cx="579205" cy="659005"/>
          </a:xfrm>
          <a:prstGeom prst="rect">
            <a:avLst/>
          </a:prstGeom>
        </p:spPr>
      </p:pic>
      <p:pic>
        <p:nvPicPr>
          <p:cNvPr id="28" name="Graphic 27">
            <a:extLst>
              <a:ext uri="{FF2B5EF4-FFF2-40B4-BE49-F238E27FC236}">
                <a16:creationId xmlns:a16="http://schemas.microsoft.com/office/drawing/2014/main" id="{DCDA7B94-F774-1D22-EC84-9D768EB4FDF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41596" y="4463344"/>
            <a:ext cx="657717" cy="659005"/>
          </a:xfrm>
          <a:prstGeom prst="rect">
            <a:avLst/>
          </a:prstGeom>
        </p:spPr>
      </p:pic>
    </p:spTree>
    <p:extLst>
      <p:ext uri="{BB962C8B-B14F-4D97-AF65-F5344CB8AC3E}">
        <p14:creationId xmlns:p14="http://schemas.microsoft.com/office/powerpoint/2010/main" val="23847524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icture containing screenshot, text, multimedia, electronic device&#10;&#10;Description automatically generated">
            <a:extLst>
              <a:ext uri="{FF2B5EF4-FFF2-40B4-BE49-F238E27FC236}">
                <a16:creationId xmlns:a16="http://schemas.microsoft.com/office/drawing/2014/main" id="{6D5DAB22-7FD3-28D0-B271-6F43036CD9DD}"/>
              </a:ext>
            </a:extLst>
          </p:cNvPr>
          <p:cNvPicPr>
            <a:picLocks noGrp="1" noChangeAspect="1"/>
          </p:cNvPicPr>
          <p:nvPr>
            <p:ph type="pic" sz="quarter" idx="60"/>
          </p:nvPr>
        </p:nvPicPr>
        <p:blipFill>
          <a:blip r:embed="rId3"/>
          <a:srcRect/>
          <a:stretch>
            <a:fillRect/>
          </a:stretch>
        </p:blipFill>
        <p:spPr/>
      </p:pic>
      <p:sp>
        <p:nvSpPr>
          <p:cNvPr id="4" name="Rectangle 3">
            <a:extLst>
              <a:ext uri="{FF2B5EF4-FFF2-40B4-BE49-F238E27FC236}">
                <a16:creationId xmlns:a16="http://schemas.microsoft.com/office/drawing/2014/main" id="{0DA91E0D-1F91-5114-3E0B-EFAD47576145}"/>
              </a:ext>
            </a:extLst>
          </p:cNvPr>
          <p:cNvSpPr/>
          <p:nvPr/>
        </p:nvSpPr>
        <p:spPr>
          <a:xfrm>
            <a:off x="7162800" y="1"/>
            <a:ext cx="5029200" cy="6858000"/>
          </a:xfrm>
          <a:prstGeom prst="rect">
            <a:avLst/>
          </a:prstGeom>
          <a:solidFill>
            <a:srgbClr val="0000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50" b="1" i="0" u="none" strike="noStrike" kern="1200" cap="none" spc="0" normalizeH="0" baseline="0" noProof="0" dirty="0">
              <a:ln>
                <a:noFill/>
              </a:ln>
              <a:solidFill>
                <a:srgbClr val="FFFFFF"/>
              </a:solidFill>
              <a:effectLst/>
              <a:uLnTx/>
              <a:uFillTx/>
              <a:latin typeface="Open Sans Semibold" charset="0"/>
              <a:ea typeface="+mn-ea"/>
              <a:cs typeface="+mn-cs"/>
            </a:endParaRPr>
          </a:p>
        </p:txBody>
      </p:sp>
      <p:sp>
        <p:nvSpPr>
          <p:cNvPr id="10" name="TextBox 9">
            <a:extLst>
              <a:ext uri="{FF2B5EF4-FFF2-40B4-BE49-F238E27FC236}">
                <a16:creationId xmlns:a16="http://schemas.microsoft.com/office/drawing/2014/main" id="{80FC1628-2A0E-5576-F7EC-3B35F4C52373}"/>
              </a:ext>
            </a:extLst>
          </p:cNvPr>
          <p:cNvSpPr txBox="1"/>
          <p:nvPr/>
        </p:nvSpPr>
        <p:spPr>
          <a:xfrm>
            <a:off x="471140" y="399587"/>
            <a:ext cx="6094140" cy="5478423"/>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Matt White is co-chair of the Firm's Financial Services Cybersecurity and Data Privacy Team, and a member of the firm’s Incident Response Team, which has been named an Authorized Breach Coach® by NetDiligence.  He regularly advises clients on a wide range of cybersecurity and data privacy matters, including compliance, policies and procedures, training, incident response, regulatory investigations, and litigation.</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He is a Certified Information Privacy Professional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P</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U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P</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E), a Certified Information Privacy Technologist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T</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and a Certified Information Privacy Manager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CIPM</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Matt is also a Payment Card Industry Professional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PCIP</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His practice focuses on representing financial institutions, including banks, credit unions, lender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Fintechs</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insurance companie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InsurTechs</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investment advisory firms, and broker-dealer firms, as well as other highly regulated businesses. He counsels clients on all aspects of privacy and cybersecurity, including litigation and breach response, privacy compliance, transactional diligence, and the defense of regulatory actions.  Matt particularly focuses on helping businesses implement policies, procedures, and best practices concerning data privacy and security, and assisting clients in strategically navigating through cyber incidents and litigation.</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Matt also provides strategic advice to his clients concerning artificial intelligence (AI), blockchain technology, smart contracts, cryptocurrencies, and other digital assets including non-fungible tokens (</a:t>
            </a:r>
            <a:r>
              <a:rPr kumimoji="0" lang="en-US" sz="1400" b="0" i="0" u="none" strike="noStrike" kern="1200" cap="none" spc="0" normalizeH="0" baseline="0" noProof="0" dirty="0" err="1">
                <a:ln>
                  <a:noFill/>
                </a:ln>
                <a:solidFill>
                  <a:srgbClr val="666666"/>
                </a:solidFill>
                <a:effectLst/>
                <a:uLnTx/>
                <a:uFillTx/>
                <a:latin typeface="Calibri" panose="020F0502020204030204" pitchFamily="34" charset="0"/>
                <a:ea typeface="Calibri" panose="020F0502020204030204" pitchFamily="34" charset="0"/>
                <a:cs typeface="+mn-cs"/>
              </a:rPr>
              <a:t>NFTs</a:t>
            </a:r>
            <a:r>
              <a:rPr kumimoji="0" lang="en-US" sz="1400" b="0" i="0" u="none" strike="noStrike" kern="1200" cap="none" spc="0" normalizeH="0" baseline="0" noProof="0" dirty="0">
                <a:ln>
                  <a:noFill/>
                </a:ln>
                <a:solidFill>
                  <a:srgbClr val="666666"/>
                </a:solidFill>
                <a:effectLst/>
                <a:uLnTx/>
                <a:uFillTx/>
                <a:latin typeface="Calibri" panose="020F0502020204030204" pitchFamily="34" charset="0"/>
                <a:ea typeface="Calibri" panose="020F0502020204030204" pitchFamily="34" charset="0"/>
                <a:cs typeface="+mn-cs"/>
              </a:rPr>
              <a:t>). He provides sophisticated and knowledgeable counsel on the novel issues clients encounter in this rapidly evolving space. </a:t>
            </a:r>
            <a:endParaRPr kumimoji="0" lang="en-US" sz="1600" b="0" i="0" u="none" strike="noStrike" kern="1200" cap="none" spc="0" normalizeH="0" baseline="0" noProof="0" dirty="0">
              <a:ln>
                <a:noFill/>
              </a:ln>
              <a:solidFill>
                <a:srgbClr val="666666"/>
              </a:solidFill>
              <a:effectLst/>
              <a:uLnTx/>
              <a:uFillTx/>
              <a:latin typeface="Times New Roman" panose="02020603050405020304" pitchFamily="18" charset="0"/>
              <a:ea typeface="Calibri" panose="020F0502020204030204" pitchFamily="34" charset="0"/>
              <a:cs typeface="+mn-cs"/>
            </a:endParaRPr>
          </a:p>
        </p:txBody>
      </p:sp>
      <p:sp>
        <p:nvSpPr>
          <p:cNvPr id="12" name="Text Placeholder 4">
            <a:extLst>
              <a:ext uri="{FF2B5EF4-FFF2-40B4-BE49-F238E27FC236}">
                <a16:creationId xmlns:a16="http://schemas.microsoft.com/office/drawing/2014/main" id="{CC088EB5-777B-958E-C5EF-AB6FDC88DC8C}"/>
              </a:ext>
            </a:extLst>
          </p:cNvPr>
          <p:cNvSpPr txBox="1">
            <a:spLocks/>
          </p:cNvSpPr>
          <p:nvPr/>
        </p:nvSpPr>
        <p:spPr>
          <a:xfrm>
            <a:off x="7892090" y="3879935"/>
            <a:ext cx="3749040" cy="867188"/>
          </a:xfrm>
          <a:prstGeom prst="rect">
            <a:avLst/>
          </a:prstGeom>
        </p:spPr>
        <p:txBody>
          <a:bodyPr anchor="b">
            <a:noAutofit/>
          </a:bodyPr>
          <a:lstStyle>
            <a:lvl1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att White,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IGP</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IPP</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 CIPP/E,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IPT</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IPM</a:t>
            </a:r>
            <a:r>
              <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r>
              <a:rPr kumimoji="0" lang="en-US" sz="1200" b="1" i="0" u="none" strike="noStrike" kern="1200" cap="none" spc="0" normalizeH="0" baseline="0" noProof="0" dirty="0" err="1">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CIP</a:t>
            </a:r>
            <a:endParaRPr kumimoji="0" lang="en-US" sz="1200" b="1"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hareholder</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mphis, TN</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901.577.8182</a:t>
            </a:r>
          </a:p>
          <a:p>
            <a:pPr marL="0" marR="0" lvl="0" indent="0" algn="ctr"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hlinkClick r:id="rId4">
                  <a:extLst>
                    <a:ext uri="{A12FA001-AC4F-418D-AE19-62706E023703}">
                      <ahyp:hlinkClr xmlns:ahyp="http://schemas.microsoft.com/office/drawing/2018/hyperlinkcolor" val="tx"/>
                    </a:ext>
                  </a:extLst>
                </a:hlinkClick>
              </a:rPr>
              <a:t>mwhite@bakerdonelson.com</a:t>
            </a:r>
            <a:endParaRPr kumimoji="0" lang="en-US" sz="1200" b="0" i="0" u="none" strike="noStrike" kern="1200" cap="none" spc="0" normalizeH="0" baseline="0" noProof="0" dirty="0">
              <a:ln>
                <a:noFill/>
              </a:ln>
              <a:solidFill>
                <a:srgbClr val="FFFFFF"/>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2" name="Picture 1">
            <a:extLst>
              <a:ext uri="{FF2B5EF4-FFF2-40B4-BE49-F238E27FC236}">
                <a16:creationId xmlns:a16="http://schemas.microsoft.com/office/drawing/2014/main" id="{2A6D9603-3FB0-0036-4534-3250A6072F7D}"/>
              </a:ext>
            </a:extLst>
          </p:cNvPr>
          <p:cNvPicPr>
            <a:picLocks noChangeAspect="1"/>
          </p:cNvPicPr>
          <p:nvPr/>
        </p:nvPicPr>
        <p:blipFill>
          <a:blip r:embed="rId5"/>
          <a:stretch>
            <a:fillRect/>
          </a:stretch>
        </p:blipFill>
        <p:spPr>
          <a:xfrm>
            <a:off x="8660604" y="1102688"/>
            <a:ext cx="2212011" cy="2212011"/>
          </a:xfrm>
          <a:prstGeom prst="ellipse">
            <a:avLst/>
          </a:prstGeom>
        </p:spPr>
      </p:pic>
    </p:spTree>
    <p:extLst>
      <p:ext uri="{BB962C8B-B14F-4D97-AF65-F5344CB8AC3E}">
        <p14:creationId xmlns:p14="http://schemas.microsoft.com/office/powerpoint/2010/main" val="200962214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B32D1E8-8D94-4A71-837B-2EF2D0DC54ED}"/>
              </a:ext>
            </a:extLst>
          </p:cNvPr>
          <p:cNvSpPr txBox="1"/>
          <p:nvPr/>
        </p:nvSpPr>
        <p:spPr>
          <a:xfrm>
            <a:off x="1138575" y="4437370"/>
            <a:ext cx="1920240" cy="43088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3">
                  <a:extLst>
                    <a:ext uri="{A12FA001-AC4F-418D-AE19-62706E023703}">
                      <ahyp:hlinkClr xmlns:ahyp="http://schemas.microsoft.com/office/drawing/2018/hyperlinkcolor" val="tx"/>
                    </a:ext>
                  </a:extLst>
                </a:hlinkClick>
              </a:rPr>
              <a:t>www.bakerdonelson.com</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7" name="TextBox 6">
            <a:extLst>
              <a:ext uri="{FF2B5EF4-FFF2-40B4-BE49-F238E27FC236}">
                <a16:creationId xmlns:a16="http://schemas.microsoft.com/office/drawing/2014/main" id="{BE052CE7-ED0C-4183-9D38-D11AAF32C4A2}"/>
              </a:ext>
            </a:extLst>
          </p:cNvPr>
          <p:cNvSpPr txBox="1"/>
          <p:nvPr/>
        </p:nvSpPr>
        <p:spPr>
          <a:xfrm>
            <a:off x="9053254" y="4437370"/>
            <a:ext cx="177775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4">
                  <a:extLst>
                    <a:ext uri="{A12FA001-AC4F-418D-AE19-62706E023703}">
                      <ahyp:hlinkClr xmlns:ahyp="http://schemas.microsoft.com/office/drawing/2018/hyperlinkcolor" val="tx"/>
                    </a:ext>
                  </a:extLst>
                </a:hlinkClick>
              </a:rPr>
              <a:t>@Baker_Donelson</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8" name="TextBox 7">
            <a:extLst>
              <a:ext uri="{FF2B5EF4-FFF2-40B4-BE49-F238E27FC236}">
                <a16:creationId xmlns:a16="http://schemas.microsoft.com/office/drawing/2014/main" id="{AA1B812D-C2B1-4F0B-8351-967925A79510}"/>
              </a:ext>
            </a:extLst>
          </p:cNvPr>
          <p:cNvSpPr txBox="1"/>
          <p:nvPr/>
        </p:nvSpPr>
        <p:spPr>
          <a:xfrm>
            <a:off x="3903458" y="4437370"/>
            <a:ext cx="177775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5">
                  <a:extLst>
                    <a:ext uri="{A12FA001-AC4F-418D-AE19-62706E023703}">
                      <ahyp:hlinkClr xmlns:ahyp="http://schemas.microsoft.com/office/drawing/2018/hyperlinkcolor" val="tx"/>
                    </a:ext>
                  </a:extLst>
                </a:hlinkClick>
              </a:rPr>
              <a:t>@BakerDonelson</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63FF245F-9C87-4657-8045-874BB38F6FCF}"/>
              </a:ext>
            </a:extLst>
          </p:cNvPr>
          <p:cNvSpPr txBox="1"/>
          <p:nvPr/>
        </p:nvSpPr>
        <p:spPr>
          <a:xfrm>
            <a:off x="6345884" y="4437370"/>
            <a:ext cx="1777754"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hlinkClick r:id="rId6">
                  <a:extLst>
                    <a:ext uri="{A12FA001-AC4F-418D-AE19-62706E023703}">
                      <ahyp:hlinkClr xmlns:ahyp="http://schemas.microsoft.com/office/drawing/2018/hyperlinkcolor" val="tx"/>
                    </a:ext>
                  </a:extLst>
                </a:hlinkClick>
              </a:rPr>
              <a:t>@Baker-Donelson</a:t>
            </a:r>
            <a:endParaRPr kumimoji="0" lang="en-US" sz="1100" b="0" i="0" u="none" strike="noStrike" kern="1200" cap="none" spc="0" normalizeH="0" baseline="0" noProof="0" dirty="0">
              <a:ln>
                <a:noFill/>
              </a:ln>
              <a:solidFill>
                <a:srgbClr val="F2F2F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945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id="{C2821A9B-5E2F-4FF5-815F-B0E2730ACD01}"/>
              </a:ext>
            </a:extLst>
          </p:cNvPr>
          <p:cNvSpPr txBox="1"/>
          <p:nvPr/>
        </p:nvSpPr>
        <p:spPr>
          <a:xfrm>
            <a:off x="949215" y="161953"/>
            <a:ext cx="10533150"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srgbClr val="006983"/>
              </a:solidFill>
              <a:effectLst/>
              <a:uLnTx/>
              <a:uFillTx/>
              <a:latin typeface="Poppins"/>
              <a:ea typeface="+mn-ea"/>
              <a:cs typeface="Poppins SemiBold" panose="00000700000000000000" pitchFamily="50" charset="0"/>
            </a:endParaRPr>
          </a:p>
        </p:txBody>
      </p:sp>
      <p:sp>
        <p:nvSpPr>
          <p:cNvPr id="6" name="TextBox 5">
            <a:extLst>
              <a:ext uri="{FF2B5EF4-FFF2-40B4-BE49-F238E27FC236}">
                <a16:creationId xmlns:a16="http://schemas.microsoft.com/office/drawing/2014/main" id="{03960AFA-C89D-4B30-841A-87D1B48BD7A3}"/>
              </a:ext>
            </a:extLst>
          </p:cNvPr>
          <p:cNvSpPr txBox="1"/>
          <p:nvPr/>
        </p:nvSpPr>
        <p:spPr>
          <a:xfrm>
            <a:off x="4344403" y="1153928"/>
            <a:ext cx="3489158" cy="5029200"/>
          </a:xfrm>
          <a:prstGeom prst="rect">
            <a:avLst/>
          </a:prstGeom>
          <a:solidFill>
            <a:srgbClr val="0070C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1818"/>
              </a:solidFill>
              <a:effectLst/>
              <a:uLnTx/>
              <a:uFillTx/>
              <a:latin typeface="Poppins"/>
              <a:ea typeface="+mn-ea"/>
              <a:cs typeface="+mn-cs"/>
            </a:endParaRPr>
          </a:p>
        </p:txBody>
      </p:sp>
      <p:sp>
        <p:nvSpPr>
          <p:cNvPr id="7" name="TextBox 6">
            <a:extLst>
              <a:ext uri="{FF2B5EF4-FFF2-40B4-BE49-F238E27FC236}">
                <a16:creationId xmlns:a16="http://schemas.microsoft.com/office/drawing/2014/main" id="{541DA31B-E49A-40AD-87F4-57F3769551B9}"/>
              </a:ext>
            </a:extLst>
          </p:cNvPr>
          <p:cNvSpPr txBox="1"/>
          <p:nvPr/>
        </p:nvSpPr>
        <p:spPr>
          <a:xfrm>
            <a:off x="8319262" y="1153928"/>
            <a:ext cx="3489158" cy="5029200"/>
          </a:xfrm>
          <a:prstGeom prst="rect">
            <a:avLst/>
          </a:prstGeom>
          <a:solidFill>
            <a:srgbClr val="00B050"/>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1818"/>
              </a:solidFill>
              <a:effectLst/>
              <a:uLnTx/>
              <a:uFillTx/>
              <a:latin typeface="Poppins"/>
              <a:ea typeface="+mn-ea"/>
              <a:cs typeface="+mn-cs"/>
            </a:endParaRPr>
          </a:p>
        </p:txBody>
      </p:sp>
      <p:sp>
        <p:nvSpPr>
          <p:cNvPr id="11" name="Flowchart: Off-page Connector 10">
            <a:extLst>
              <a:ext uri="{FF2B5EF4-FFF2-40B4-BE49-F238E27FC236}">
                <a16:creationId xmlns:a16="http://schemas.microsoft.com/office/drawing/2014/main" id="{A940B698-0458-46B7-8B77-8749229A0A50}"/>
              </a:ext>
            </a:extLst>
          </p:cNvPr>
          <p:cNvSpPr/>
          <p:nvPr/>
        </p:nvSpPr>
        <p:spPr>
          <a:xfrm>
            <a:off x="4344403" y="1153928"/>
            <a:ext cx="3489158" cy="2093495"/>
          </a:xfrm>
          <a:prstGeom prst="flowChartOffpageConnector">
            <a:avLst/>
          </a:prstGeom>
          <a:solidFill>
            <a:srgbClr val="0070C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12" name="Flowchart: Off-page Connector 11">
            <a:extLst>
              <a:ext uri="{FF2B5EF4-FFF2-40B4-BE49-F238E27FC236}">
                <a16:creationId xmlns:a16="http://schemas.microsoft.com/office/drawing/2014/main" id="{830BCA23-8DDF-40C6-A545-AA388B994640}"/>
              </a:ext>
            </a:extLst>
          </p:cNvPr>
          <p:cNvSpPr/>
          <p:nvPr/>
        </p:nvSpPr>
        <p:spPr>
          <a:xfrm>
            <a:off x="8319262" y="1153928"/>
            <a:ext cx="3489158" cy="2093495"/>
          </a:xfrm>
          <a:prstGeom prst="flowChartOffpageConnector">
            <a:avLst/>
          </a:prstGeom>
          <a:solidFill>
            <a:srgbClr val="00B05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sp>
        <p:nvSpPr>
          <p:cNvPr id="15" name="Circle: Hollow 14">
            <a:extLst>
              <a:ext uri="{FF2B5EF4-FFF2-40B4-BE49-F238E27FC236}">
                <a16:creationId xmlns:a16="http://schemas.microsoft.com/office/drawing/2014/main" id="{FCF34B0D-566C-4717-97C0-E4EC4B206079}"/>
              </a:ext>
            </a:extLst>
          </p:cNvPr>
          <p:cNvSpPr/>
          <p:nvPr/>
        </p:nvSpPr>
        <p:spPr>
          <a:xfrm>
            <a:off x="5559593" y="1400574"/>
            <a:ext cx="1058779" cy="1058779"/>
          </a:xfrm>
          <a:prstGeom prst="donut">
            <a:avLst>
              <a:gd name="adj" fmla="val 3573"/>
            </a:avLst>
          </a:prstGeom>
          <a:solidFill>
            <a:schemeClr val="bg1">
              <a:lumMod val="95000"/>
            </a:schemeClr>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1818"/>
              </a:solidFill>
              <a:effectLst/>
              <a:uLnTx/>
              <a:uFillTx/>
              <a:latin typeface="Poppins"/>
              <a:ea typeface="+mn-ea"/>
              <a:cs typeface="+mn-cs"/>
            </a:endParaRPr>
          </a:p>
        </p:txBody>
      </p:sp>
      <p:sp>
        <p:nvSpPr>
          <p:cNvPr id="17" name="TextBox 16">
            <a:extLst>
              <a:ext uri="{FF2B5EF4-FFF2-40B4-BE49-F238E27FC236}">
                <a16:creationId xmlns:a16="http://schemas.microsoft.com/office/drawing/2014/main" id="{D07E1E4E-3064-4BE7-A416-5E45BA5B2B99}"/>
              </a:ext>
            </a:extLst>
          </p:cNvPr>
          <p:cNvSpPr txBox="1"/>
          <p:nvPr/>
        </p:nvSpPr>
        <p:spPr>
          <a:xfrm>
            <a:off x="4646483" y="2562331"/>
            <a:ext cx="2884998"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400" b="1" dirty="0">
                <a:solidFill>
                  <a:prstClr val="white">
                    <a:lumMod val="95000"/>
                  </a:prstClr>
                </a:solidFill>
                <a:latin typeface="Open Sans" panose="020B0606030504020204" pitchFamily="34" charset="0"/>
                <a:ea typeface="Open Sans" panose="020B0606030504020204" pitchFamily="34" charset="0"/>
                <a:cs typeface="Open Sans" panose="020B0606030504020204" pitchFamily="34" charset="0"/>
              </a:rPr>
              <a:t>Sophisticated Attacks</a:t>
            </a:r>
            <a:endParaRPr kumimoji="0" lang="en-US" sz="24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TextBox 20">
            <a:extLst>
              <a:ext uri="{FF2B5EF4-FFF2-40B4-BE49-F238E27FC236}">
                <a16:creationId xmlns:a16="http://schemas.microsoft.com/office/drawing/2014/main" id="{366A5873-B7BA-4786-8FE0-03112E8A7118}"/>
              </a:ext>
            </a:extLst>
          </p:cNvPr>
          <p:cNvSpPr txBox="1"/>
          <p:nvPr/>
        </p:nvSpPr>
        <p:spPr>
          <a:xfrm>
            <a:off x="8656320" y="2562331"/>
            <a:ext cx="2926080"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creased Costs</a:t>
            </a:r>
          </a:p>
        </p:txBody>
      </p:sp>
      <p:sp>
        <p:nvSpPr>
          <p:cNvPr id="26" name="TextBox 25">
            <a:extLst>
              <a:ext uri="{FF2B5EF4-FFF2-40B4-BE49-F238E27FC236}">
                <a16:creationId xmlns:a16="http://schemas.microsoft.com/office/drawing/2014/main" id="{28681F17-D6BA-4BCF-8AC3-AE2065BAEDC0}"/>
              </a:ext>
            </a:extLst>
          </p:cNvPr>
          <p:cNvSpPr txBox="1"/>
          <p:nvPr/>
        </p:nvSpPr>
        <p:spPr>
          <a:xfrm>
            <a:off x="8445595" y="3403873"/>
            <a:ext cx="3278603" cy="1815882"/>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Global annual cost of cybercrime is predicted to reach $8 trillion in 2023</a:t>
            </a:r>
          </a:p>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457200" rtl="0" eaLnBrk="1" fontAlgn="auto" latinLnBrk="0" hangingPunct="1">
              <a:lnSpc>
                <a:spcPct val="100000"/>
              </a:lnSpc>
              <a:spcBef>
                <a:spcPts val="0"/>
              </a:spcBef>
              <a:spcAft>
                <a:spcPts val="0"/>
              </a:spcAft>
              <a:buClr>
                <a:srgbClr val="D52B1E"/>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66666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27" name="Graphic 26">
            <a:extLst>
              <a:ext uri="{FF2B5EF4-FFF2-40B4-BE49-F238E27FC236}">
                <a16:creationId xmlns:a16="http://schemas.microsoft.com/office/drawing/2014/main" id="{E8AD9AD5-5E2F-4EB2-812D-8539ABC2EFDD}"/>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768942" y="1609923"/>
            <a:ext cx="640080" cy="640080"/>
          </a:xfrm>
          <a:prstGeom prst="rect">
            <a:avLst/>
          </a:prstGeom>
        </p:spPr>
      </p:pic>
      <p:sp>
        <p:nvSpPr>
          <p:cNvPr id="20" name="Circle: Hollow 19">
            <a:extLst>
              <a:ext uri="{FF2B5EF4-FFF2-40B4-BE49-F238E27FC236}">
                <a16:creationId xmlns:a16="http://schemas.microsoft.com/office/drawing/2014/main" id="{0A4608CD-614F-48C4-A61B-46C607935CA6}"/>
              </a:ext>
            </a:extLst>
          </p:cNvPr>
          <p:cNvSpPr/>
          <p:nvPr/>
        </p:nvSpPr>
        <p:spPr>
          <a:xfrm>
            <a:off x="9534452" y="1400574"/>
            <a:ext cx="1058779" cy="1058779"/>
          </a:xfrm>
          <a:prstGeom prst="donut">
            <a:avLst>
              <a:gd name="adj" fmla="val 3573"/>
            </a:avLst>
          </a:prstGeom>
          <a:solidFill>
            <a:schemeClr val="bg1"/>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1818"/>
              </a:solidFill>
              <a:effectLst/>
              <a:uLnTx/>
              <a:uFillTx/>
              <a:latin typeface="Poppins"/>
              <a:ea typeface="+mn-ea"/>
              <a:cs typeface="+mn-cs"/>
            </a:endParaRPr>
          </a:p>
        </p:txBody>
      </p:sp>
      <p:pic>
        <p:nvPicPr>
          <p:cNvPr id="28" name="Graphic 27" descr="Money outline">
            <a:extLst>
              <a:ext uri="{FF2B5EF4-FFF2-40B4-BE49-F238E27FC236}">
                <a16:creationId xmlns:a16="http://schemas.microsoft.com/office/drawing/2014/main" id="{91358F57-188F-4B91-A053-BC3CC1171BF0}"/>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9682068" y="1548190"/>
            <a:ext cx="763547" cy="763547"/>
          </a:xfrm>
          <a:prstGeom prst="rect">
            <a:avLst/>
          </a:prstGeom>
        </p:spPr>
      </p:pic>
      <p:sp>
        <p:nvSpPr>
          <p:cNvPr id="30" name="TextBox 29">
            <a:extLst>
              <a:ext uri="{FF2B5EF4-FFF2-40B4-BE49-F238E27FC236}">
                <a16:creationId xmlns:a16="http://schemas.microsoft.com/office/drawing/2014/main" id="{BC4BE819-6212-455C-B9F1-8A40E9153D69}"/>
              </a:ext>
            </a:extLst>
          </p:cNvPr>
          <p:cNvSpPr txBox="1"/>
          <p:nvPr/>
        </p:nvSpPr>
        <p:spPr>
          <a:xfrm>
            <a:off x="8457626" y="5088293"/>
            <a:ext cx="327860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lumMod val="95000"/>
                </a:prstClr>
              </a:solidFill>
              <a:effectLst/>
              <a:uLnTx/>
              <a:uFillTx/>
              <a:latin typeface="Poppins"/>
              <a:ea typeface="+mn-ea"/>
              <a:cs typeface="Poppins SemiBold" panose="00000700000000000000" pitchFamily="50" charset="0"/>
            </a:endParaRPr>
          </a:p>
        </p:txBody>
      </p:sp>
      <p:sp>
        <p:nvSpPr>
          <p:cNvPr id="31" name="TextBox 30">
            <a:extLst>
              <a:ext uri="{FF2B5EF4-FFF2-40B4-BE49-F238E27FC236}">
                <a16:creationId xmlns:a16="http://schemas.microsoft.com/office/drawing/2014/main" id="{019DC642-1B97-43D1-B24D-16A5B5D5C9A7}"/>
              </a:ext>
            </a:extLst>
          </p:cNvPr>
          <p:cNvSpPr txBox="1"/>
          <p:nvPr/>
        </p:nvSpPr>
        <p:spPr>
          <a:xfrm>
            <a:off x="4449681" y="3403873"/>
            <a:ext cx="3278603" cy="2831544"/>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yberattacks have become more sophisticated</a:t>
            </a:r>
          </a:p>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Difficult to detect and presents substantial legal, operational, and reputational risk</a:t>
            </a:r>
          </a:p>
          <a:p>
            <a:pPr marL="0" marR="0" lvl="0" indent="0" algn="l" defTabSz="457200" rtl="0" eaLnBrk="1" fontAlgn="auto" latinLnBrk="0" hangingPunct="1">
              <a:lnSpc>
                <a:spcPct val="100000"/>
              </a:lnSpc>
              <a:spcBef>
                <a:spcPts val="0"/>
              </a:spcBef>
              <a:spcAft>
                <a:spcPts val="0"/>
              </a:spcAft>
              <a:buClr>
                <a:srgbClr val="D52B1E"/>
              </a:buClr>
              <a:buSzTx/>
              <a:buFontTx/>
              <a:buNone/>
              <a:tabLst/>
              <a:defRPr/>
            </a:pPr>
            <a:endParaRPr kumimoji="0" lang="en-US" sz="1800" b="0" i="0" u="none" strike="noStrike" kern="1200" cap="none" spc="0" normalizeH="0" baseline="0" noProof="0" dirty="0">
              <a:ln>
                <a:noFill/>
              </a:ln>
              <a:solidFill>
                <a:srgbClr val="66666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5" name="TextBox 34">
            <a:extLst>
              <a:ext uri="{FF2B5EF4-FFF2-40B4-BE49-F238E27FC236}">
                <a16:creationId xmlns:a16="http://schemas.microsoft.com/office/drawing/2014/main" id="{69F82E02-DBA8-43F4-87FE-CC124BB285B2}"/>
              </a:ext>
            </a:extLst>
          </p:cNvPr>
          <p:cNvSpPr txBox="1"/>
          <p:nvPr/>
        </p:nvSpPr>
        <p:spPr>
          <a:xfrm>
            <a:off x="386015" y="1153928"/>
            <a:ext cx="3489158" cy="5029200"/>
          </a:xfrm>
          <a:prstGeom prst="rect">
            <a:avLst/>
          </a:prstGeom>
          <a:solidFill>
            <a:schemeClr val="accent1"/>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1818"/>
              </a:solidFill>
              <a:effectLst/>
              <a:uLnTx/>
              <a:uFillTx/>
              <a:latin typeface="Poppins"/>
              <a:ea typeface="+mn-ea"/>
              <a:cs typeface="+mn-cs"/>
            </a:endParaRPr>
          </a:p>
        </p:txBody>
      </p:sp>
      <p:sp>
        <p:nvSpPr>
          <p:cNvPr id="36" name="Flowchart: Off-page Connector 35">
            <a:extLst>
              <a:ext uri="{FF2B5EF4-FFF2-40B4-BE49-F238E27FC236}">
                <a16:creationId xmlns:a16="http://schemas.microsoft.com/office/drawing/2014/main" id="{0C32E4D0-ACA3-4596-9C6A-AB16311E76CB}"/>
              </a:ext>
            </a:extLst>
          </p:cNvPr>
          <p:cNvSpPr/>
          <p:nvPr/>
        </p:nvSpPr>
        <p:spPr>
          <a:xfrm>
            <a:off x="386015" y="1153928"/>
            <a:ext cx="3489158" cy="2093495"/>
          </a:xfrm>
          <a:prstGeom prst="flowChartOffpageConnector">
            <a:avLst/>
          </a:pr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Poppins"/>
              <a:ea typeface="+mn-ea"/>
              <a:cs typeface="+mn-cs"/>
            </a:endParaRPr>
          </a:p>
        </p:txBody>
      </p:sp>
      <p:pic>
        <p:nvPicPr>
          <p:cNvPr id="18" name="Picture 17" descr="Cloud Computing outline">
            <a:extLst>
              <a:ext uri="{FF2B5EF4-FFF2-40B4-BE49-F238E27FC236}">
                <a16:creationId xmlns:a16="http://schemas.microsoft.com/office/drawing/2014/main" id="{3560547E-D7EF-4B6E-9501-C8779EF7513C}"/>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1810527" y="1631315"/>
            <a:ext cx="640135" cy="640135"/>
          </a:xfrm>
          <a:prstGeom prst="rect">
            <a:avLst/>
          </a:prstGeom>
        </p:spPr>
      </p:pic>
      <p:sp>
        <p:nvSpPr>
          <p:cNvPr id="37" name="TextBox 36">
            <a:extLst>
              <a:ext uri="{FF2B5EF4-FFF2-40B4-BE49-F238E27FC236}">
                <a16:creationId xmlns:a16="http://schemas.microsoft.com/office/drawing/2014/main" id="{7DC09083-C36D-4E5F-85E7-0F12146F93E6}"/>
              </a:ext>
            </a:extLst>
          </p:cNvPr>
          <p:cNvSpPr txBox="1"/>
          <p:nvPr/>
        </p:nvSpPr>
        <p:spPr>
          <a:xfrm>
            <a:off x="609600" y="2562331"/>
            <a:ext cx="3024940"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lumMod val="95000"/>
                  </a:prstClr>
                </a:solidFill>
                <a:effectLst/>
                <a:uLnTx/>
                <a:uFillTx/>
                <a:latin typeface="Open Sans" panose="020B0606030504020204" pitchFamily="34" charset="0"/>
                <a:ea typeface="Open Sans" panose="020B0606030504020204" pitchFamily="34" charset="0"/>
                <a:cs typeface="Open Sans" panose="020B0606030504020204" pitchFamily="34" charset="0"/>
              </a:rPr>
              <a:t>Advanced Technology</a:t>
            </a:r>
          </a:p>
        </p:txBody>
      </p:sp>
      <p:sp>
        <p:nvSpPr>
          <p:cNvPr id="40" name="TextBox 39">
            <a:extLst>
              <a:ext uri="{FF2B5EF4-FFF2-40B4-BE49-F238E27FC236}">
                <a16:creationId xmlns:a16="http://schemas.microsoft.com/office/drawing/2014/main" id="{1B2BDEC0-EA32-4D7F-A39D-1EB4235BA556}"/>
              </a:ext>
            </a:extLst>
          </p:cNvPr>
          <p:cNvSpPr txBox="1"/>
          <p:nvPr/>
        </p:nvSpPr>
        <p:spPr>
          <a:xfrm>
            <a:off x="390331" y="3403873"/>
            <a:ext cx="3379565" cy="3108543"/>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Cutting-edge technology being used by organizations</a:t>
            </a:r>
          </a:p>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endParaRPr lang="en-US" sz="2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285750" marR="0" lvl="0" indent="-285750" algn="l" defTabSz="457200" rtl="0" eaLnBrk="1" fontAlgn="auto" latinLnBrk="0" hangingPunct="1">
              <a:lnSpc>
                <a:spcPct val="100000"/>
              </a:lnSpc>
              <a:spcBef>
                <a:spcPts val="0"/>
              </a:spcBef>
              <a:spcAft>
                <a:spcPts val="0"/>
              </a:spcAft>
              <a:buClr>
                <a:schemeClr val="bg1"/>
              </a:buClr>
              <a:buSzTx/>
              <a:buFont typeface="Arial" panose="020B0604020202020204" pitchFamily="34" charset="0"/>
              <a:buChar char="•"/>
              <a:tabLst/>
              <a:defRPr/>
            </a:pPr>
            <a:r>
              <a:rPr kumimoji="0" lang="en-US" sz="2000" b="0" i="0" u="none" strike="noStrike" kern="1200" cap="none" spc="0" normalizeH="0" baseline="0" noProof="0" dirty="0">
                <a:ln>
                  <a:noFill/>
                </a:ln>
                <a:solidFill>
                  <a:schemeClr val="bg1"/>
                </a:solidFill>
                <a:effectLst/>
                <a:uLnTx/>
                <a:uFillTx/>
                <a:latin typeface="Open Sans" panose="020B0606030504020204" pitchFamily="34" charset="0"/>
                <a:ea typeface="Open Sans" panose="020B0606030504020204" pitchFamily="34" charset="0"/>
                <a:cs typeface="Open Sans" panose="020B0606030504020204" pitchFamily="34" charset="0"/>
              </a:rPr>
              <a:t>More devices + More connectivity = More opportunities for attacks</a:t>
            </a:r>
          </a:p>
          <a:p>
            <a:pPr marL="285750" marR="0" lvl="0" indent="-285750" algn="l" defTabSz="457200" rtl="0" eaLnBrk="1" fontAlgn="auto" latinLnBrk="0" hangingPunct="1">
              <a:lnSpc>
                <a:spcPct val="100000"/>
              </a:lnSpc>
              <a:spcBef>
                <a:spcPts val="0"/>
              </a:spcBef>
              <a:spcAft>
                <a:spcPts val="0"/>
              </a:spcAft>
              <a:buClr>
                <a:srgbClr val="D52B1E"/>
              </a:buClr>
              <a:buSzTx/>
              <a:buFont typeface="Arial" panose="020B0604020202020204" pitchFamily="34" charset="0"/>
              <a:buChar char="•"/>
              <a:tabLst/>
              <a:defRPr/>
            </a:pPr>
            <a:endParaRPr kumimoji="0" lang="en-US" sz="1800" b="0" i="0" u="none" strike="noStrike" kern="1200" cap="none" spc="0" normalizeH="0" baseline="0" noProof="0" dirty="0">
              <a:ln>
                <a:noFill/>
              </a:ln>
              <a:solidFill>
                <a:srgbClr val="666666"/>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457200" rtl="0" eaLnBrk="1" fontAlgn="auto" latinLnBrk="0" hangingPunct="1">
              <a:lnSpc>
                <a:spcPct val="100000"/>
              </a:lnSpc>
              <a:spcBef>
                <a:spcPts val="0"/>
              </a:spcBef>
              <a:spcAft>
                <a:spcPts val="0"/>
              </a:spcAft>
              <a:buClr>
                <a:srgbClr val="D52B1E"/>
              </a:buClr>
              <a:buSzTx/>
              <a:buFontTx/>
              <a:buNone/>
              <a:tabLst/>
              <a:defRPr/>
            </a:pPr>
            <a:endParaRPr kumimoji="0" lang="en-US" sz="1800" b="0" i="0" u="none" strike="noStrike" kern="1200" cap="none" spc="0" normalizeH="0" baseline="0" noProof="0" dirty="0">
              <a:ln>
                <a:noFill/>
              </a:ln>
              <a:solidFill>
                <a:srgbClr val="666666"/>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41" name="Circle: Hollow 40">
            <a:extLst>
              <a:ext uri="{FF2B5EF4-FFF2-40B4-BE49-F238E27FC236}">
                <a16:creationId xmlns:a16="http://schemas.microsoft.com/office/drawing/2014/main" id="{18B382AB-4198-415B-8725-832A3A3966BD}"/>
              </a:ext>
            </a:extLst>
          </p:cNvPr>
          <p:cNvSpPr/>
          <p:nvPr/>
        </p:nvSpPr>
        <p:spPr>
          <a:xfrm>
            <a:off x="1601205" y="1421993"/>
            <a:ext cx="1058779" cy="1058779"/>
          </a:xfrm>
          <a:prstGeom prst="donut">
            <a:avLst>
              <a:gd name="adj" fmla="val 3573"/>
            </a:avLst>
          </a:prstGeom>
          <a:solidFill>
            <a:schemeClr val="bg1">
              <a:lumMod val="95000"/>
            </a:schemeClr>
          </a:solidFill>
          <a:ln>
            <a:solidFill>
              <a:schemeClr val="bg1">
                <a:lumMod val="95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181818"/>
              </a:solidFill>
              <a:effectLst/>
              <a:uLnTx/>
              <a:uFillTx/>
              <a:latin typeface="Poppins"/>
              <a:ea typeface="+mn-ea"/>
              <a:cs typeface="+mn-cs"/>
            </a:endParaRPr>
          </a:p>
        </p:txBody>
      </p:sp>
      <p:sp>
        <p:nvSpPr>
          <p:cNvPr id="4" name="Text Placeholder 3">
            <a:extLst>
              <a:ext uri="{FF2B5EF4-FFF2-40B4-BE49-F238E27FC236}">
                <a16:creationId xmlns:a16="http://schemas.microsoft.com/office/drawing/2014/main" id="{C3BCF7EA-C989-4CDE-B443-A56B27E18B2E}"/>
              </a:ext>
            </a:extLst>
          </p:cNvPr>
          <p:cNvSpPr>
            <a:spLocks noGrp="1"/>
          </p:cNvSpPr>
          <p:nvPr>
            <p:ph type="body" sz="quarter" idx="15"/>
          </p:nvPr>
        </p:nvSpPr>
        <p:spPr/>
        <p:txBody>
          <a:bodyPr/>
          <a:lstStyle/>
          <a:p>
            <a:r>
              <a:rPr lang="en-US" sz="3600" dirty="0"/>
              <a:t>THE EVOLVING LANDSCAPE OF CYBERSECURITY</a:t>
            </a:r>
          </a:p>
        </p:txBody>
      </p:sp>
    </p:spTree>
    <p:extLst>
      <p:ext uri="{BB962C8B-B14F-4D97-AF65-F5344CB8AC3E}">
        <p14:creationId xmlns:p14="http://schemas.microsoft.com/office/powerpoint/2010/main" val="42448610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07FEE3E7-A81A-431C-B227-86207E787584}"/>
              </a:ext>
            </a:extLst>
          </p:cNvPr>
          <p:cNvSpPr>
            <a:spLocks noGrp="1"/>
          </p:cNvSpPr>
          <p:nvPr>
            <p:ph type="body" sz="quarter" idx="12"/>
          </p:nvPr>
        </p:nvSpPr>
        <p:spPr/>
        <p:txBody>
          <a:bodyPr/>
          <a:lstStyle/>
          <a:p>
            <a:r>
              <a:rPr lang="en-US" dirty="0">
                <a:latin typeface="Poppins" panose="00000500000000000000" pitchFamily="2" charset="0"/>
                <a:cs typeface="Poppins" panose="00000500000000000000" pitchFamily="2" charset="0"/>
              </a:rPr>
              <a:t>THREAT BRIEFING</a:t>
            </a:r>
          </a:p>
        </p:txBody>
      </p:sp>
      <p:sp>
        <p:nvSpPr>
          <p:cNvPr id="9" name="Text Placeholder 8">
            <a:extLst>
              <a:ext uri="{FF2B5EF4-FFF2-40B4-BE49-F238E27FC236}">
                <a16:creationId xmlns:a16="http://schemas.microsoft.com/office/drawing/2014/main" id="{5DE6BB4C-48B7-4F61-B98A-3FCF46E83B4F}"/>
              </a:ext>
            </a:extLst>
          </p:cNvPr>
          <p:cNvSpPr>
            <a:spLocks noGrp="1"/>
          </p:cNvSpPr>
          <p:nvPr>
            <p:ph type="body" sz="quarter" idx="13"/>
          </p:nvPr>
        </p:nvSpPr>
        <p:spPr/>
        <p:txBody>
          <a:bodyPr/>
          <a:lstStyle/>
          <a:p>
            <a:r>
              <a:rPr lang="en-US" sz="1600" dirty="0">
                <a:latin typeface="Poppins" panose="00000500000000000000" pitchFamily="2" charset="0"/>
                <a:cs typeface="Poppins" panose="00000500000000000000" pitchFamily="2" charset="0"/>
              </a:rPr>
              <a:t>Overview of recent developments, legal issues, and threats</a:t>
            </a:r>
          </a:p>
        </p:txBody>
      </p:sp>
    </p:spTree>
    <p:extLst>
      <p:ext uri="{BB962C8B-B14F-4D97-AF65-F5344CB8AC3E}">
        <p14:creationId xmlns:p14="http://schemas.microsoft.com/office/powerpoint/2010/main" val="14557562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D300567-CC21-1CB9-2680-550E5EB29E00}"/>
              </a:ext>
            </a:extLst>
          </p:cNvPr>
          <p:cNvSpPr>
            <a:spLocks noGrp="1"/>
          </p:cNvSpPr>
          <p:nvPr>
            <p:ph type="body" sz="quarter" idx="15"/>
          </p:nvPr>
        </p:nvSpPr>
        <p:spPr/>
        <p:txBody>
          <a:bodyPr/>
          <a:lstStyle/>
          <a:p>
            <a:r>
              <a:rPr lang="en-US" sz="3600" b="1" dirty="0">
                <a:latin typeface="Open Sans (Body)"/>
              </a:rPr>
              <a:t>BREACH COSTS AND TRENDS</a:t>
            </a:r>
          </a:p>
        </p:txBody>
      </p:sp>
      <p:sp>
        <p:nvSpPr>
          <p:cNvPr id="6" name="Rectangle 5">
            <a:extLst>
              <a:ext uri="{FF2B5EF4-FFF2-40B4-BE49-F238E27FC236}">
                <a16:creationId xmlns:a16="http://schemas.microsoft.com/office/drawing/2014/main" id="{4EAA8007-6899-0B68-E189-8F1F0342C0EA}"/>
              </a:ext>
            </a:extLst>
          </p:cNvPr>
          <p:cNvSpPr/>
          <p:nvPr/>
        </p:nvSpPr>
        <p:spPr>
          <a:xfrm>
            <a:off x="375780" y="3424273"/>
            <a:ext cx="2685672" cy="234461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7" name="Rectangle 6">
            <a:extLst>
              <a:ext uri="{FF2B5EF4-FFF2-40B4-BE49-F238E27FC236}">
                <a16:creationId xmlns:a16="http://schemas.microsoft.com/office/drawing/2014/main" id="{904C11CF-8B83-D6B5-FCA1-0938309E0A5E}"/>
              </a:ext>
            </a:extLst>
          </p:cNvPr>
          <p:cNvSpPr/>
          <p:nvPr/>
        </p:nvSpPr>
        <p:spPr>
          <a:xfrm>
            <a:off x="3275942" y="3424273"/>
            <a:ext cx="2685672" cy="234461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Rectangle 7">
            <a:extLst>
              <a:ext uri="{FF2B5EF4-FFF2-40B4-BE49-F238E27FC236}">
                <a16:creationId xmlns:a16="http://schemas.microsoft.com/office/drawing/2014/main" id="{108A867A-FD8B-5FF2-C21C-65EDDB292C39}"/>
              </a:ext>
            </a:extLst>
          </p:cNvPr>
          <p:cNvSpPr/>
          <p:nvPr/>
        </p:nvSpPr>
        <p:spPr>
          <a:xfrm>
            <a:off x="6176104" y="3424273"/>
            <a:ext cx="2685672" cy="23446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9" name="Rectangle 8">
            <a:extLst>
              <a:ext uri="{FF2B5EF4-FFF2-40B4-BE49-F238E27FC236}">
                <a16:creationId xmlns:a16="http://schemas.microsoft.com/office/drawing/2014/main" id="{BCCC3810-BA4C-4E82-CB5D-2EAFABD4DF79}"/>
              </a:ext>
            </a:extLst>
          </p:cNvPr>
          <p:cNvSpPr/>
          <p:nvPr/>
        </p:nvSpPr>
        <p:spPr>
          <a:xfrm>
            <a:off x="9076267" y="3424273"/>
            <a:ext cx="2685672" cy="2344617"/>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0" name="TextBox 9">
            <a:extLst>
              <a:ext uri="{FF2B5EF4-FFF2-40B4-BE49-F238E27FC236}">
                <a16:creationId xmlns:a16="http://schemas.microsoft.com/office/drawing/2014/main" id="{7B93775B-671F-F7D9-63B5-5AA8CE13D375}"/>
              </a:ext>
            </a:extLst>
          </p:cNvPr>
          <p:cNvSpPr txBox="1"/>
          <p:nvPr/>
        </p:nvSpPr>
        <p:spPr>
          <a:xfrm>
            <a:off x="541530" y="3693579"/>
            <a:ext cx="2354172" cy="707886"/>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6.08M</a:t>
            </a:r>
          </a:p>
        </p:txBody>
      </p:sp>
      <p:sp>
        <p:nvSpPr>
          <p:cNvPr id="11" name="TextBox 10">
            <a:extLst>
              <a:ext uri="{FF2B5EF4-FFF2-40B4-BE49-F238E27FC236}">
                <a16:creationId xmlns:a16="http://schemas.microsoft.com/office/drawing/2014/main" id="{EFA521D9-1ABB-C5F6-FA89-D4500C86E4A7}"/>
              </a:ext>
            </a:extLst>
          </p:cNvPr>
          <p:cNvSpPr txBox="1"/>
          <p:nvPr/>
        </p:nvSpPr>
        <p:spPr>
          <a:xfrm>
            <a:off x="1626251" y="4494796"/>
            <a:ext cx="184730" cy="430887"/>
          </a:xfrm>
          <a:prstGeom prst="rect">
            <a:avLst/>
          </a:prstGeom>
          <a:noFill/>
        </p:spPr>
        <p:txBody>
          <a:bodyPr wrap="non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2200" b="1" i="0" u="none" strike="noStrike" kern="1200" cap="none" spc="150" normalizeH="0" baseline="0" noProof="0" dirty="0">
              <a:ln>
                <a:noFill/>
              </a:ln>
              <a:solidFill>
                <a:srgbClr val="FFFFFF"/>
              </a:solidFill>
              <a:effectLst/>
              <a:uLnTx/>
              <a:uFillTx/>
              <a:latin typeface="Open Sans"/>
              <a:ea typeface="Montserrat" charset="0"/>
              <a:cs typeface="Montserrat" charset="0"/>
            </a:endParaRPr>
          </a:p>
        </p:txBody>
      </p:sp>
      <p:sp>
        <p:nvSpPr>
          <p:cNvPr id="12" name="TextBox 11">
            <a:extLst>
              <a:ext uri="{FF2B5EF4-FFF2-40B4-BE49-F238E27FC236}">
                <a16:creationId xmlns:a16="http://schemas.microsoft.com/office/drawing/2014/main" id="{D48606EB-801E-42B7-92F5-35CD506C25EC}"/>
              </a:ext>
            </a:extLst>
          </p:cNvPr>
          <p:cNvSpPr txBox="1"/>
          <p:nvPr/>
        </p:nvSpPr>
        <p:spPr>
          <a:xfrm>
            <a:off x="3573252" y="3693579"/>
            <a:ext cx="2091053" cy="707886"/>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292</a:t>
            </a:r>
          </a:p>
        </p:txBody>
      </p:sp>
      <p:sp>
        <p:nvSpPr>
          <p:cNvPr id="13" name="TextBox 12">
            <a:extLst>
              <a:ext uri="{FF2B5EF4-FFF2-40B4-BE49-F238E27FC236}">
                <a16:creationId xmlns:a16="http://schemas.microsoft.com/office/drawing/2014/main" id="{7773FE7C-699B-615C-F384-2862A8910F3F}"/>
              </a:ext>
            </a:extLst>
          </p:cNvPr>
          <p:cNvSpPr txBox="1"/>
          <p:nvPr/>
        </p:nvSpPr>
        <p:spPr>
          <a:xfrm>
            <a:off x="6748883" y="3693579"/>
            <a:ext cx="1540114" cy="707886"/>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70%</a:t>
            </a:r>
          </a:p>
        </p:txBody>
      </p:sp>
      <p:sp>
        <p:nvSpPr>
          <p:cNvPr id="14" name="TextBox 13">
            <a:extLst>
              <a:ext uri="{FF2B5EF4-FFF2-40B4-BE49-F238E27FC236}">
                <a16:creationId xmlns:a16="http://schemas.microsoft.com/office/drawing/2014/main" id="{5CB50A7F-4A3E-277A-153F-F48C10C1C7DB}"/>
              </a:ext>
            </a:extLst>
          </p:cNvPr>
          <p:cNvSpPr txBox="1"/>
          <p:nvPr/>
        </p:nvSpPr>
        <p:spPr>
          <a:xfrm>
            <a:off x="9763629" y="3693579"/>
            <a:ext cx="1310949" cy="707886"/>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Open Sans Extrabold" panose="020B0906030804020204" pitchFamily="34" charset="0"/>
                <a:ea typeface="Open Sans Extrabold" panose="020B0906030804020204" pitchFamily="34" charset="0"/>
                <a:cs typeface="Open Sans Extrabold" panose="020B0906030804020204" pitchFamily="34" charset="0"/>
              </a:rPr>
              <a:t>63%</a:t>
            </a:r>
          </a:p>
        </p:txBody>
      </p:sp>
      <p:sp>
        <p:nvSpPr>
          <p:cNvPr id="15" name="TextBox 14">
            <a:extLst>
              <a:ext uri="{FF2B5EF4-FFF2-40B4-BE49-F238E27FC236}">
                <a16:creationId xmlns:a16="http://schemas.microsoft.com/office/drawing/2014/main" id="{6F499D16-9D52-ABB5-942B-C5A23D8798BA}"/>
              </a:ext>
            </a:extLst>
          </p:cNvPr>
          <p:cNvSpPr txBox="1"/>
          <p:nvPr/>
        </p:nvSpPr>
        <p:spPr>
          <a:xfrm>
            <a:off x="645808" y="4450634"/>
            <a:ext cx="2145616" cy="107721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pen Sans"/>
                <a:ea typeface="Open Sans" panose="020B0606030504020204" pitchFamily="34" charset="0"/>
                <a:cs typeface="Open Sans" panose="020B0606030504020204" pitchFamily="34" charset="0"/>
              </a:rPr>
              <a:t>Average cost of a data breach for the financial sector in 2024</a:t>
            </a:r>
          </a:p>
        </p:txBody>
      </p:sp>
      <p:sp>
        <p:nvSpPr>
          <p:cNvPr id="16" name="TextBox 15">
            <a:extLst>
              <a:ext uri="{FF2B5EF4-FFF2-40B4-BE49-F238E27FC236}">
                <a16:creationId xmlns:a16="http://schemas.microsoft.com/office/drawing/2014/main" id="{F33528CF-30E2-7FEE-916C-91B03BB3EF52}"/>
              </a:ext>
            </a:extLst>
          </p:cNvPr>
          <p:cNvSpPr txBox="1"/>
          <p:nvPr/>
        </p:nvSpPr>
        <p:spPr>
          <a:xfrm>
            <a:off x="3445838" y="4450634"/>
            <a:ext cx="2345880" cy="830997"/>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pen Sans"/>
                <a:ea typeface="Open Sans" panose="020B0606030504020204" pitchFamily="34" charset="0"/>
                <a:cs typeface="Open Sans" panose="020B0606030504020204" pitchFamily="34" charset="0"/>
              </a:rPr>
              <a:t>Average Number of Days to Identify + Contain a Breach</a:t>
            </a:r>
            <a:endParaRPr kumimoji="0" lang="en-US" sz="1600" b="0" i="0" u="none" strike="noStrike" kern="1200" cap="none" spc="0" normalizeH="0" baseline="0" noProof="0" dirty="0">
              <a:ln>
                <a:noFill/>
              </a:ln>
              <a:solidFill>
                <a:srgbClr val="FFFFFF"/>
              </a:solidFill>
              <a:effectLst/>
              <a:uLnTx/>
              <a:uFillTx/>
              <a:latin typeface="Open Sans"/>
              <a:ea typeface="Roboto Light" panose="02000000000000000000" pitchFamily="2" charset="0"/>
              <a:cs typeface="Poppins" panose="00000500000000000000" pitchFamily="2" charset="0"/>
            </a:endParaRPr>
          </a:p>
        </p:txBody>
      </p:sp>
      <p:sp>
        <p:nvSpPr>
          <p:cNvPr id="17" name="TextBox 16">
            <a:extLst>
              <a:ext uri="{FF2B5EF4-FFF2-40B4-BE49-F238E27FC236}">
                <a16:creationId xmlns:a16="http://schemas.microsoft.com/office/drawing/2014/main" id="{3077A8A1-8012-8620-8124-E8E623B264E4}"/>
              </a:ext>
            </a:extLst>
          </p:cNvPr>
          <p:cNvSpPr txBox="1"/>
          <p:nvPr/>
        </p:nvSpPr>
        <p:spPr>
          <a:xfrm>
            <a:off x="6176732" y="4450634"/>
            <a:ext cx="2684417" cy="107721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pen Sans"/>
                <a:ea typeface="Open Sans" panose="020B0606030504020204" pitchFamily="34" charset="0"/>
                <a:cs typeface="Open Sans" panose="020B0606030504020204" pitchFamily="34" charset="0"/>
              </a:rPr>
              <a:t>Organizations that experienced a “significant” or “very significant” disruption to business</a:t>
            </a:r>
          </a:p>
        </p:txBody>
      </p:sp>
      <p:sp>
        <p:nvSpPr>
          <p:cNvPr id="18" name="TextBox 17">
            <a:extLst>
              <a:ext uri="{FF2B5EF4-FFF2-40B4-BE49-F238E27FC236}">
                <a16:creationId xmlns:a16="http://schemas.microsoft.com/office/drawing/2014/main" id="{407B907D-1753-A3DC-7397-BCB5D37C9576}"/>
              </a:ext>
            </a:extLst>
          </p:cNvPr>
          <p:cNvSpPr txBox="1"/>
          <p:nvPr/>
        </p:nvSpPr>
        <p:spPr>
          <a:xfrm>
            <a:off x="9159776" y="4450634"/>
            <a:ext cx="2518655" cy="1077218"/>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30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Open Sans"/>
                <a:ea typeface="Open Sans" panose="020B0606030504020204" pitchFamily="34" charset="0"/>
                <a:cs typeface="Open Sans" panose="020B0606030504020204" pitchFamily="34" charset="0"/>
              </a:rPr>
              <a:t>Ransomware victims that involved law enforcement and did not pay a ransom</a:t>
            </a:r>
          </a:p>
        </p:txBody>
      </p:sp>
      <p:pic>
        <p:nvPicPr>
          <p:cNvPr id="19" name="Graphic 18">
            <a:extLst>
              <a:ext uri="{FF2B5EF4-FFF2-40B4-BE49-F238E27FC236}">
                <a16:creationId xmlns:a16="http://schemas.microsoft.com/office/drawing/2014/main" id="{0A93914E-3DF8-DA91-4829-CB89ACD9C55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0713" y="2186060"/>
            <a:ext cx="1415806" cy="880990"/>
          </a:xfrm>
          <a:prstGeom prst="rect">
            <a:avLst/>
          </a:prstGeom>
        </p:spPr>
      </p:pic>
      <p:pic>
        <p:nvPicPr>
          <p:cNvPr id="21" name="Graphic 20">
            <a:extLst>
              <a:ext uri="{FF2B5EF4-FFF2-40B4-BE49-F238E27FC236}">
                <a16:creationId xmlns:a16="http://schemas.microsoft.com/office/drawing/2014/main" id="{F5860836-2D19-37BA-E595-2229910D3E1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088111" y="2095888"/>
            <a:ext cx="1061334" cy="1061334"/>
          </a:xfrm>
          <a:prstGeom prst="rect">
            <a:avLst/>
          </a:prstGeom>
        </p:spPr>
      </p:pic>
      <p:pic>
        <p:nvPicPr>
          <p:cNvPr id="23" name="Graphic 22">
            <a:extLst>
              <a:ext uri="{FF2B5EF4-FFF2-40B4-BE49-F238E27FC236}">
                <a16:creationId xmlns:a16="http://schemas.microsoft.com/office/drawing/2014/main" id="{EE33CC42-3ECE-71B7-27F0-55E3C99BE4F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35370" y="2042822"/>
            <a:ext cx="1167467" cy="1167467"/>
          </a:xfrm>
          <a:prstGeom prst="rect">
            <a:avLst/>
          </a:prstGeom>
        </p:spPr>
      </p:pic>
      <p:pic>
        <p:nvPicPr>
          <p:cNvPr id="25" name="Graphic 24">
            <a:extLst>
              <a:ext uri="{FF2B5EF4-FFF2-40B4-BE49-F238E27FC236}">
                <a16:creationId xmlns:a16="http://schemas.microsoft.com/office/drawing/2014/main" id="{70E68077-81DB-BB3F-B67A-A0860077341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35207" y="2042822"/>
            <a:ext cx="1167467" cy="1167467"/>
          </a:xfrm>
          <a:prstGeom prst="rect">
            <a:avLst/>
          </a:prstGeom>
        </p:spPr>
      </p:pic>
    </p:spTree>
    <p:extLst>
      <p:ext uri="{BB962C8B-B14F-4D97-AF65-F5344CB8AC3E}">
        <p14:creationId xmlns:p14="http://schemas.microsoft.com/office/powerpoint/2010/main" val="32169004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0B7E96-8EF8-9EB9-D85F-748259C8265C}"/>
              </a:ext>
            </a:extLst>
          </p:cNvPr>
          <p:cNvSpPr>
            <a:spLocks noGrp="1"/>
          </p:cNvSpPr>
          <p:nvPr>
            <p:ph type="body" sz="quarter" idx="17"/>
          </p:nvPr>
        </p:nvSpPr>
        <p:spPr>
          <a:xfrm>
            <a:off x="380999" y="1600200"/>
            <a:ext cx="5876925" cy="4667250"/>
          </a:xfrm>
        </p:spPr>
        <p:txBody>
          <a:bodyPr/>
          <a:lstStyle/>
          <a:p>
            <a:pPr marL="457200" indent="-457200">
              <a:lnSpc>
                <a:spcPct val="100000"/>
              </a:lnSpc>
              <a:spcBef>
                <a:spcPts val="300"/>
              </a:spcBef>
              <a:buFont typeface="+mj-lt"/>
              <a:buAutoNum type="arabicPeriod"/>
            </a:pPr>
            <a:r>
              <a:rPr lang="en-US" dirty="0">
                <a:solidFill>
                  <a:schemeClr val="accent1"/>
                </a:solidFill>
              </a:rPr>
              <a:t>Ransomware-as-a-Service</a:t>
            </a:r>
            <a:br>
              <a:rPr lang="en-US" dirty="0"/>
            </a:br>
            <a:r>
              <a:rPr lang="en-US" dirty="0"/>
              <a:t>Cybercrime's Franchising Model</a:t>
            </a:r>
          </a:p>
          <a:p>
            <a:pPr marL="457200" indent="-457200">
              <a:lnSpc>
                <a:spcPct val="100000"/>
              </a:lnSpc>
              <a:spcBef>
                <a:spcPts val="300"/>
              </a:spcBef>
              <a:buFont typeface="+mj-lt"/>
              <a:buAutoNum type="arabicPeriod"/>
            </a:pPr>
            <a:endParaRPr lang="en-US" dirty="0"/>
          </a:p>
          <a:p>
            <a:pPr marL="457200" indent="-457200">
              <a:lnSpc>
                <a:spcPct val="100000"/>
              </a:lnSpc>
              <a:spcBef>
                <a:spcPts val="300"/>
              </a:spcBef>
              <a:buFont typeface="+mj-lt"/>
              <a:buAutoNum type="arabicPeriod"/>
            </a:pPr>
            <a:r>
              <a:rPr lang="en-US" dirty="0">
                <a:solidFill>
                  <a:schemeClr val="accent1"/>
                </a:solidFill>
              </a:rPr>
              <a:t>Supply Chain Vulnerabilities</a:t>
            </a:r>
            <a:r>
              <a:rPr lang="en-US" dirty="0"/>
              <a:t>	</a:t>
            </a:r>
            <a:br>
              <a:rPr lang="en-US" dirty="0"/>
            </a:br>
            <a:r>
              <a:rPr lang="en-US" dirty="0"/>
              <a:t>The Domino Effect</a:t>
            </a:r>
          </a:p>
          <a:p>
            <a:pPr marL="457200" indent="-457200">
              <a:lnSpc>
                <a:spcPct val="100000"/>
              </a:lnSpc>
              <a:spcBef>
                <a:spcPts val="300"/>
              </a:spcBef>
              <a:buFont typeface="+mj-lt"/>
              <a:buAutoNum type="arabicPeriod"/>
            </a:pPr>
            <a:endParaRPr lang="en-US" dirty="0"/>
          </a:p>
          <a:p>
            <a:pPr marL="457200" indent="-457200">
              <a:lnSpc>
                <a:spcPct val="100000"/>
              </a:lnSpc>
              <a:spcBef>
                <a:spcPts val="300"/>
              </a:spcBef>
              <a:buFont typeface="+mj-lt"/>
              <a:buAutoNum type="arabicPeriod"/>
            </a:pPr>
            <a:r>
              <a:rPr lang="en-US" dirty="0">
                <a:solidFill>
                  <a:schemeClr val="accent1"/>
                </a:solidFill>
              </a:rPr>
              <a:t>AI-Powered Cyber Attacks</a:t>
            </a:r>
            <a:br>
              <a:rPr lang="en-US" dirty="0"/>
            </a:br>
            <a:r>
              <a:rPr lang="en-US" dirty="0"/>
              <a:t>When the Machines Fight Back</a:t>
            </a:r>
          </a:p>
          <a:p>
            <a:pPr marL="457200" indent="-457200">
              <a:lnSpc>
                <a:spcPct val="100000"/>
              </a:lnSpc>
              <a:spcBef>
                <a:spcPts val="300"/>
              </a:spcBef>
              <a:buFont typeface="+mj-lt"/>
              <a:buAutoNum type="arabicPeriod"/>
            </a:pPr>
            <a:endParaRPr lang="en-US" dirty="0"/>
          </a:p>
          <a:p>
            <a:pPr marL="457200" indent="-457200">
              <a:lnSpc>
                <a:spcPct val="100000"/>
              </a:lnSpc>
              <a:spcBef>
                <a:spcPts val="300"/>
              </a:spcBef>
              <a:buFont typeface="+mj-lt"/>
              <a:buAutoNum type="arabicPeriod"/>
            </a:pPr>
            <a:r>
              <a:rPr lang="en-US" dirty="0">
                <a:solidFill>
                  <a:schemeClr val="accent1"/>
                </a:solidFill>
              </a:rPr>
              <a:t>Deepfakes</a:t>
            </a:r>
            <a:br>
              <a:rPr lang="en-US" dirty="0"/>
            </a:br>
            <a:r>
              <a:rPr lang="en-US" dirty="0"/>
              <a:t>Lies in High Definition</a:t>
            </a:r>
          </a:p>
          <a:p>
            <a:pPr marL="342900" lvl="1" indent="0">
              <a:lnSpc>
                <a:spcPct val="100000"/>
              </a:lnSpc>
              <a:spcBef>
                <a:spcPts val="300"/>
              </a:spcBef>
              <a:buNone/>
            </a:pPr>
            <a:r>
              <a:rPr lang="en-US" dirty="0"/>
              <a:t> </a:t>
            </a:r>
          </a:p>
          <a:p>
            <a:pPr marL="457200" indent="-457200">
              <a:lnSpc>
                <a:spcPct val="100000"/>
              </a:lnSpc>
              <a:spcBef>
                <a:spcPts val="300"/>
              </a:spcBef>
              <a:buFont typeface="+mj-lt"/>
              <a:buAutoNum type="arabicPeriod" startAt="5"/>
            </a:pPr>
            <a:r>
              <a:rPr lang="en-US" dirty="0">
                <a:solidFill>
                  <a:schemeClr val="accent1"/>
                </a:solidFill>
              </a:rPr>
              <a:t>The Human Factor</a:t>
            </a:r>
            <a:br>
              <a:rPr lang="en-US" dirty="0"/>
            </a:br>
            <a:r>
              <a:rPr lang="en-US" dirty="0"/>
              <a:t>Insider Threats + The Eternal Weak Link</a:t>
            </a:r>
          </a:p>
          <a:p>
            <a:pPr marL="0" indent="0">
              <a:lnSpc>
                <a:spcPct val="100000"/>
              </a:lnSpc>
              <a:spcBef>
                <a:spcPts val="300"/>
              </a:spcBef>
              <a:buNone/>
            </a:pPr>
            <a:r>
              <a:rPr lang="en-US" dirty="0"/>
              <a:t>       </a:t>
            </a:r>
          </a:p>
        </p:txBody>
      </p:sp>
      <p:sp>
        <p:nvSpPr>
          <p:cNvPr id="4" name="Text Placeholder 3">
            <a:extLst>
              <a:ext uri="{FF2B5EF4-FFF2-40B4-BE49-F238E27FC236}">
                <a16:creationId xmlns:a16="http://schemas.microsoft.com/office/drawing/2014/main" id="{1AAC64F5-9238-4F66-5627-D7A12F7EF9B3}"/>
              </a:ext>
            </a:extLst>
          </p:cNvPr>
          <p:cNvSpPr>
            <a:spLocks noGrp="1"/>
          </p:cNvSpPr>
          <p:nvPr>
            <p:ph type="body" sz="quarter" idx="15"/>
          </p:nvPr>
        </p:nvSpPr>
        <p:spPr/>
        <p:txBody>
          <a:bodyPr/>
          <a:lstStyle/>
          <a:p>
            <a:r>
              <a:rPr lang="en-US" b="1" dirty="0"/>
              <a:t>CYBER THREAT TRENDS IN 2025</a:t>
            </a:r>
          </a:p>
        </p:txBody>
      </p:sp>
      <p:pic>
        <p:nvPicPr>
          <p:cNvPr id="7" name="Picture 6">
            <a:extLst>
              <a:ext uri="{FF2B5EF4-FFF2-40B4-BE49-F238E27FC236}">
                <a16:creationId xmlns:a16="http://schemas.microsoft.com/office/drawing/2014/main" id="{EF9C5277-392D-54A4-454A-9DD7022CC638}"/>
              </a:ext>
            </a:extLst>
          </p:cNvPr>
          <p:cNvPicPr>
            <a:picLocks noChangeAspect="1"/>
          </p:cNvPicPr>
          <p:nvPr/>
        </p:nvPicPr>
        <p:blipFill>
          <a:blip r:embed="rId2"/>
          <a:stretch>
            <a:fillRect/>
          </a:stretch>
        </p:blipFill>
        <p:spPr>
          <a:xfrm>
            <a:off x="6096000" y="1600200"/>
            <a:ext cx="5706271" cy="4248743"/>
          </a:xfrm>
          <a:prstGeom prst="rect">
            <a:avLst/>
          </a:prstGeom>
        </p:spPr>
      </p:pic>
    </p:spTree>
    <p:extLst>
      <p:ext uri="{BB962C8B-B14F-4D97-AF65-F5344CB8AC3E}">
        <p14:creationId xmlns:p14="http://schemas.microsoft.com/office/powerpoint/2010/main" val="86314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6A4DA35-A59D-154B-96B5-FBF7F316BD2A}"/>
              </a:ext>
            </a:extLst>
          </p:cNvPr>
          <p:cNvSpPr txBox="1"/>
          <p:nvPr/>
        </p:nvSpPr>
        <p:spPr>
          <a:xfrm>
            <a:off x="1277656" y="562027"/>
            <a:ext cx="9632514" cy="646331"/>
          </a:xfrm>
          <a:prstGeom prst="rect">
            <a:avLst/>
          </a:prstGeom>
          <a:noFill/>
        </p:spPr>
        <p:txBody>
          <a:bodyPr wrap="square" rtlCol="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E BASICS OF RANSOMWARE</a:t>
            </a:r>
          </a:p>
        </p:txBody>
      </p:sp>
      <p:grpSp>
        <p:nvGrpSpPr>
          <p:cNvPr id="4" name="Group 3">
            <a:extLst>
              <a:ext uri="{FF2B5EF4-FFF2-40B4-BE49-F238E27FC236}">
                <a16:creationId xmlns:a16="http://schemas.microsoft.com/office/drawing/2014/main" id="{1BF472A2-5EF8-AD45-A962-373F5968796C}"/>
              </a:ext>
            </a:extLst>
          </p:cNvPr>
          <p:cNvGrpSpPr/>
          <p:nvPr/>
        </p:nvGrpSpPr>
        <p:grpSpPr>
          <a:xfrm>
            <a:off x="4162038" y="2138469"/>
            <a:ext cx="3886270" cy="3915950"/>
            <a:chOff x="7789912" y="3741893"/>
            <a:chExt cx="8834517" cy="8901988"/>
          </a:xfrm>
        </p:grpSpPr>
        <p:sp>
          <p:nvSpPr>
            <p:cNvPr id="50" name="Oval 49">
              <a:extLst>
                <a:ext uri="{FF2B5EF4-FFF2-40B4-BE49-F238E27FC236}">
                  <a16:creationId xmlns:a16="http://schemas.microsoft.com/office/drawing/2014/main" id="{2E322220-3C63-9043-A683-9340DFEE18AA}"/>
                </a:ext>
              </a:extLst>
            </p:cNvPr>
            <p:cNvSpPr/>
            <p:nvPr/>
          </p:nvSpPr>
          <p:spPr>
            <a:xfrm>
              <a:off x="8998006" y="5085215"/>
              <a:ext cx="6289924" cy="6289924"/>
            </a:xfrm>
            <a:prstGeom prst="ellipse">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Montserrat SemiBold" pitchFamily="2" charset="77"/>
                <a:ea typeface="Calibri" panose="020F0502020204030204"/>
                <a:cs typeface="Arial"/>
              </a:endParaRPr>
            </a:p>
          </p:txBody>
        </p:sp>
        <p:sp>
          <p:nvSpPr>
            <p:cNvPr id="52" name="Oval 51">
              <a:extLst>
                <a:ext uri="{FF2B5EF4-FFF2-40B4-BE49-F238E27FC236}">
                  <a16:creationId xmlns:a16="http://schemas.microsoft.com/office/drawing/2014/main" id="{2A4289EB-5A7C-E549-A587-AFA6137DE038}"/>
                </a:ext>
              </a:extLst>
            </p:cNvPr>
            <p:cNvSpPr/>
            <p:nvPr/>
          </p:nvSpPr>
          <p:spPr>
            <a:xfrm>
              <a:off x="10826672" y="3741893"/>
              <a:ext cx="2722462" cy="27224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Montserrat SemiBold" pitchFamily="2" charset="77"/>
                <a:ea typeface="Calibri" panose="020F0502020204030204"/>
                <a:cs typeface="Arial"/>
              </a:endParaRPr>
            </a:p>
          </p:txBody>
        </p:sp>
        <p:sp>
          <p:nvSpPr>
            <p:cNvPr id="53" name="Rectangle 52">
              <a:extLst>
                <a:ext uri="{FF2B5EF4-FFF2-40B4-BE49-F238E27FC236}">
                  <a16:creationId xmlns:a16="http://schemas.microsoft.com/office/drawing/2014/main" id="{B0934446-6801-C843-8552-07DD45306A77}"/>
                </a:ext>
              </a:extLst>
            </p:cNvPr>
            <p:cNvSpPr/>
            <p:nvPr/>
          </p:nvSpPr>
          <p:spPr>
            <a:xfrm>
              <a:off x="11486428" y="4430367"/>
              <a:ext cx="1413986" cy="1609212"/>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Montserrat SemiBold" pitchFamily="2" charset="77"/>
                <a:ea typeface="Lato" panose="020F0502020204030203" pitchFamily="34" charset="0"/>
                <a:cs typeface="Lato" panose="020F0502020204030203" pitchFamily="34" charset="0"/>
              </a:endParaRPr>
            </a:p>
          </p:txBody>
        </p:sp>
        <p:sp>
          <p:nvSpPr>
            <p:cNvPr id="55" name="Oval 54">
              <a:extLst>
                <a:ext uri="{FF2B5EF4-FFF2-40B4-BE49-F238E27FC236}">
                  <a16:creationId xmlns:a16="http://schemas.microsoft.com/office/drawing/2014/main" id="{1BBBF3ED-403D-5A4F-BB09-42EE26380631}"/>
                </a:ext>
              </a:extLst>
            </p:cNvPr>
            <p:cNvSpPr/>
            <p:nvPr/>
          </p:nvSpPr>
          <p:spPr>
            <a:xfrm>
              <a:off x="13901967" y="6868947"/>
              <a:ext cx="2722462" cy="27224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Montserrat SemiBold" pitchFamily="2" charset="77"/>
                <a:ea typeface="Calibri" panose="020F0502020204030204"/>
                <a:cs typeface="Arial"/>
              </a:endParaRPr>
            </a:p>
          </p:txBody>
        </p:sp>
        <p:sp>
          <p:nvSpPr>
            <p:cNvPr id="56" name="Rectangle 55">
              <a:extLst>
                <a:ext uri="{FF2B5EF4-FFF2-40B4-BE49-F238E27FC236}">
                  <a16:creationId xmlns:a16="http://schemas.microsoft.com/office/drawing/2014/main" id="{A02ED232-51BC-0842-84F4-FEEA419138E6}"/>
                </a:ext>
              </a:extLst>
            </p:cNvPr>
            <p:cNvSpPr/>
            <p:nvPr/>
          </p:nvSpPr>
          <p:spPr>
            <a:xfrm>
              <a:off x="14556201" y="7604314"/>
              <a:ext cx="1413986" cy="1609212"/>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Montserrat SemiBold" pitchFamily="2" charset="77"/>
                <a:ea typeface="Lato" panose="020F0502020204030203" pitchFamily="34" charset="0"/>
                <a:cs typeface="Lato" panose="020F0502020204030203" pitchFamily="34" charset="0"/>
              </a:endParaRPr>
            </a:p>
          </p:txBody>
        </p:sp>
        <p:sp>
          <p:nvSpPr>
            <p:cNvPr id="58" name="Oval 57">
              <a:extLst>
                <a:ext uri="{FF2B5EF4-FFF2-40B4-BE49-F238E27FC236}">
                  <a16:creationId xmlns:a16="http://schemas.microsoft.com/office/drawing/2014/main" id="{D04F5C47-9384-1D42-8AE7-D1C1F504190D}"/>
                </a:ext>
              </a:extLst>
            </p:cNvPr>
            <p:cNvSpPr/>
            <p:nvPr/>
          </p:nvSpPr>
          <p:spPr>
            <a:xfrm>
              <a:off x="7789912" y="6868946"/>
              <a:ext cx="2722462" cy="27224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Montserrat SemiBold" pitchFamily="2" charset="77"/>
                <a:ea typeface="Calibri" panose="020F0502020204030204"/>
                <a:cs typeface="Arial"/>
              </a:endParaRPr>
            </a:p>
          </p:txBody>
        </p:sp>
        <p:sp>
          <p:nvSpPr>
            <p:cNvPr id="59" name="Rectangle 58">
              <a:extLst>
                <a:ext uri="{FF2B5EF4-FFF2-40B4-BE49-F238E27FC236}">
                  <a16:creationId xmlns:a16="http://schemas.microsoft.com/office/drawing/2014/main" id="{B4FA0765-5C10-C54E-B6D4-76E40A333102}"/>
                </a:ext>
              </a:extLst>
            </p:cNvPr>
            <p:cNvSpPr/>
            <p:nvPr/>
          </p:nvSpPr>
          <p:spPr>
            <a:xfrm>
              <a:off x="8444148" y="7568455"/>
              <a:ext cx="1413986" cy="1609212"/>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Montserrat SemiBold" pitchFamily="2" charset="77"/>
                <a:ea typeface="Lato" panose="020F0502020204030203" pitchFamily="34" charset="0"/>
                <a:cs typeface="Lato" panose="020F0502020204030203" pitchFamily="34" charset="0"/>
              </a:endParaRPr>
            </a:p>
          </p:txBody>
        </p:sp>
        <p:sp>
          <p:nvSpPr>
            <p:cNvPr id="61" name="Oval 60">
              <a:extLst>
                <a:ext uri="{FF2B5EF4-FFF2-40B4-BE49-F238E27FC236}">
                  <a16:creationId xmlns:a16="http://schemas.microsoft.com/office/drawing/2014/main" id="{18CB9C44-8B6D-8C47-82F6-30DC2E557DAF}"/>
                </a:ext>
              </a:extLst>
            </p:cNvPr>
            <p:cNvSpPr/>
            <p:nvPr/>
          </p:nvSpPr>
          <p:spPr>
            <a:xfrm>
              <a:off x="10826672" y="9921421"/>
              <a:ext cx="2722462" cy="27224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Montserrat SemiBold" pitchFamily="2" charset="77"/>
                <a:ea typeface="Calibri" panose="020F0502020204030204"/>
                <a:cs typeface="Arial"/>
              </a:endParaRPr>
            </a:p>
          </p:txBody>
        </p:sp>
        <p:sp>
          <p:nvSpPr>
            <p:cNvPr id="62" name="Rectangle 61">
              <a:extLst>
                <a:ext uri="{FF2B5EF4-FFF2-40B4-BE49-F238E27FC236}">
                  <a16:creationId xmlns:a16="http://schemas.microsoft.com/office/drawing/2014/main" id="{2B85EDE3-966C-B343-9790-B9E9A86C3BEA}"/>
                </a:ext>
              </a:extLst>
            </p:cNvPr>
            <p:cNvSpPr/>
            <p:nvPr/>
          </p:nvSpPr>
          <p:spPr>
            <a:xfrm>
              <a:off x="11509872" y="10620931"/>
              <a:ext cx="1413986" cy="1609212"/>
            </a:xfrm>
            <a:prstGeom prst="rect">
              <a:avLst/>
            </a:prstGeom>
          </p:spPr>
          <p:txBody>
            <a:bodyPr wrap="square">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Montserrat SemiBold" pitchFamily="2" charset="77"/>
                <a:ea typeface="Lato" panose="020F0502020204030203" pitchFamily="34" charset="0"/>
                <a:cs typeface="Lato" panose="020F0502020204030203" pitchFamily="34" charset="0"/>
              </a:endParaRPr>
            </a:p>
          </p:txBody>
        </p:sp>
      </p:grpSp>
      <p:grpSp>
        <p:nvGrpSpPr>
          <p:cNvPr id="2" name="Group 1">
            <a:extLst>
              <a:ext uri="{FF2B5EF4-FFF2-40B4-BE49-F238E27FC236}">
                <a16:creationId xmlns:a16="http://schemas.microsoft.com/office/drawing/2014/main" id="{80BC7BFA-A9A0-1146-BE8A-3D0D6890FD55}"/>
              </a:ext>
            </a:extLst>
          </p:cNvPr>
          <p:cNvGrpSpPr/>
          <p:nvPr/>
        </p:nvGrpSpPr>
        <p:grpSpPr>
          <a:xfrm>
            <a:off x="7760510" y="1668705"/>
            <a:ext cx="4431490" cy="4605913"/>
            <a:chOff x="15563700" y="3707850"/>
            <a:chExt cx="8862980" cy="9211825"/>
          </a:xfrm>
        </p:grpSpPr>
        <p:grpSp>
          <p:nvGrpSpPr>
            <p:cNvPr id="63" name="Group 62">
              <a:extLst>
                <a:ext uri="{FF2B5EF4-FFF2-40B4-BE49-F238E27FC236}">
                  <a16:creationId xmlns:a16="http://schemas.microsoft.com/office/drawing/2014/main" id="{60A6FD32-5552-F74D-94E4-EF23CF19A378}"/>
                </a:ext>
              </a:extLst>
            </p:cNvPr>
            <p:cNvGrpSpPr/>
            <p:nvPr/>
          </p:nvGrpSpPr>
          <p:grpSpPr>
            <a:xfrm>
              <a:off x="15563700" y="3707850"/>
              <a:ext cx="8862980" cy="2334100"/>
              <a:chOff x="-309211" y="6354926"/>
              <a:chExt cx="8862980" cy="2334100"/>
            </a:xfrm>
          </p:grpSpPr>
          <p:sp>
            <p:nvSpPr>
              <p:cNvPr id="64" name="TextBox 63">
                <a:extLst>
                  <a:ext uri="{FF2B5EF4-FFF2-40B4-BE49-F238E27FC236}">
                    <a16:creationId xmlns:a16="http://schemas.microsoft.com/office/drawing/2014/main" id="{4D694D98-4CDE-5A4F-9C9E-49F252CFD827}"/>
                  </a:ext>
                </a:extLst>
              </p:cNvPr>
              <p:cNvSpPr txBox="1"/>
              <p:nvPr/>
            </p:nvSpPr>
            <p:spPr>
              <a:xfrm>
                <a:off x="266385" y="7402776"/>
                <a:ext cx="7477916" cy="1286250"/>
              </a:xfrm>
              <a:prstGeom prst="rect">
                <a:avLst/>
              </a:prstGeom>
              <a:noFill/>
            </p:spPr>
            <p:txBody>
              <a:bodyPr wrap="square" rtlCol="0">
                <a:spAutoFit/>
              </a:bodyPr>
              <a:lstStyle/>
              <a:p>
                <a:pPr marL="285750" marR="0" lvl="0" indent="-285750" algn="l" defTabSz="914217" rtl="0" eaLnBrk="1" fontAlgn="auto" latinLnBrk="0" hangingPunct="1">
                  <a:lnSpc>
                    <a:spcPts val="2150"/>
                  </a:lnSpc>
                  <a:spcBef>
                    <a:spcPts val="0"/>
                  </a:spcBef>
                  <a:spcAft>
                    <a:spcPts val="0"/>
                  </a:spcAft>
                  <a:buClrTx/>
                  <a:buSzTx/>
                  <a:buFont typeface="Arial" panose="020B0604020202020204" pitchFamily="34" charset="0"/>
                  <a:buChar char="•"/>
                  <a:tabLst/>
                  <a:defRPr/>
                </a:pP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reat actor steals data </a:t>
                </a:r>
                <a:r>
                  <a:rPr kumimoji="0" lang="en-US" sz="1800" b="0" i="0" u="none" strike="noStrike" kern="1200" cap="none" spc="15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and</a:t>
                </a: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encrypts systems </a:t>
                </a:r>
              </a:p>
            </p:txBody>
          </p:sp>
          <p:sp>
            <p:nvSpPr>
              <p:cNvPr id="65" name="Rectangle 64">
                <a:extLst>
                  <a:ext uri="{FF2B5EF4-FFF2-40B4-BE49-F238E27FC236}">
                    <a16:creationId xmlns:a16="http://schemas.microsoft.com/office/drawing/2014/main" id="{1F0BFA29-52C3-2E43-A51A-A15BD2E9D6C2}"/>
                  </a:ext>
                </a:extLst>
              </p:cNvPr>
              <p:cNvSpPr/>
              <p:nvPr/>
            </p:nvSpPr>
            <p:spPr>
              <a:xfrm>
                <a:off x="-309211" y="6354926"/>
                <a:ext cx="8862980" cy="923330"/>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DOUBLE EXTORTION</a:t>
                </a:r>
                <a:endParaRPr kumimoji="0" lang="en-US" sz="36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6" name="Group 65">
              <a:extLst>
                <a:ext uri="{FF2B5EF4-FFF2-40B4-BE49-F238E27FC236}">
                  <a16:creationId xmlns:a16="http://schemas.microsoft.com/office/drawing/2014/main" id="{ADB12B4A-A3F0-3241-A5F8-0AC11347C166}"/>
                </a:ext>
              </a:extLst>
            </p:cNvPr>
            <p:cNvGrpSpPr/>
            <p:nvPr/>
          </p:nvGrpSpPr>
          <p:grpSpPr>
            <a:xfrm>
              <a:off x="15990822" y="9593187"/>
              <a:ext cx="8388190" cy="3326488"/>
              <a:chOff x="117913" y="7931017"/>
              <a:chExt cx="8388190" cy="3326488"/>
            </a:xfrm>
          </p:grpSpPr>
          <p:sp>
            <p:nvSpPr>
              <p:cNvPr id="67" name="TextBox 66">
                <a:extLst>
                  <a:ext uri="{FF2B5EF4-FFF2-40B4-BE49-F238E27FC236}">
                    <a16:creationId xmlns:a16="http://schemas.microsoft.com/office/drawing/2014/main" id="{B8BD00C0-8B66-EA47-980F-84D4F84A634F}"/>
                  </a:ext>
                </a:extLst>
              </p:cNvPr>
              <p:cNvSpPr txBox="1"/>
              <p:nvPr/>
            </p:nvSpPr>
            <p:spPr>
              <a:xfrm>
                <a:off x="699387" y="8842741"/>
                <a:ext cx="7269834" cy="2414764"/>
              </a:xfrm>
              <a:prstGeom prst="rect">
                <a:avLst/>
              </a:prstGeom>
              <a:noFill/>
            </p:spPr>
            <p:txBody>
              <a:bodyPr wrap="square" rtlCol="0">
                <a:spAutoFit/>
              </a:bodyPr>
              <a:lstStyle/>
              <a:p>
                <a:pPr marL="285750" marR="0" lvl="0" indent="-285750" algn="l" defTabSz="914217" rtl="0" eaLnBrk="1" fontAlgn="auto" latinLnBrk="0" hangingPunct="1">
                  <a:lnSpc>
                    <a:spcPts val="2150"/>
                  </a:lnSpc>
                  <a:spcBef>
                    <a:spcPts val="0"/>
                  </a:spcBef>
                  <a:spcAft>
                    <a:spcPts val="0"/>
                  </a:spcAft>
                  <a:buClrTx/>
                  <a:buSzTx/>
                  <a:buFont typeface="Arial" panose="020B0604020202020204" pitchFamily="34" charset="0"/>
                  <a:buChar char="•"/>
                  <a:tabLst/>
                  <a:defRPr/>
                </a:pP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tolen Data</a:t>
                </a:r>
              </a:p>
              <a:p>
                <a:pPr marL="285750" marR="0" lvl="0" indent="-285750" algn="l" defTabSz="914217" rtl="0" eaLnBrk="1" fontAlgn="auto" latinLnBrk="0" hangingPunct="1">
                  <a:lnSpc>
                    <a:spcPts val="2150"/>
                  </a:lnSpc>
                  <a:spcBef>
                    <a:spcPts val="0"/>
                  </a:spcBef>
                  <a:spcAft>
                    <a:spcPts val="0"/>
                  </a:spcAft>
                  <a:buClrTx/>
                  <a:buSzTx/>
                  <a:buFont typeface="Arial" panose="020B0604020202020204" pitchFamily="34" charset="0"/>
                  <a:buChar char="•"/>
                  <a:tabLst/>
                  <a:defRPr/>
                </a:pP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ncrypts Systems</a:t>
                </a:r>
              </a:p>
              <a:p>
                <a:pPr marL="285750" marR="0" lvl="0" indent="-285750" algn="l" defTabSz="914217" rtl="0" eaLnBrk="1" fontAlgn="auto" latinLnBrk="0" hangingPunct="1">
                  <a:lnSpc>
                    <a:spcPts val="2150"/>
                  </a:lnSpc>
                  <a:spcBef>
                    <a:spcPts val="0"/>
                  </a:spcBef>
                  <a:spcAft>
                    <a:spcPts val="0"/>
                  </a:spcAft>
                  <a:buClr>
                    <a:srgbClr val="FFFFFF"/>
                  </a:buClr>
                  <a:buSzTx/>
                  <a:buFont typeface="Arial" panose="020B0604020202020204" pitchFamily="34" charset="0"/>
                  <a:buChar char="•"/>
                  <a:tabLst/>
                  <a:defRPr/>
                </a:pPr>
                <a:r>
                  <a:rPr kumimoji="0" lang="en-US" sz="1800" b="0" i="0" u="none" strike="noStrike" kern="1200" cap="none" spc="15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Intimidating</a:t>
                </a: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Third Parties</a:t>
                </a:r>
              </a:p>
            </p:txBody>
          </p:sp>
          <p:sp>
            <p:nvSpPr>
              <p:cNvPr id="68" name="Rectangle 67">
                <a:extLst>
                  <a:ext uri="{FF2B5EF4-FFF2-40B4-BE49-F238E27FC236}">
                    <a16:creationId xmlns:a16="http://schemas.microsoft.com/office/drawing/2014/main" id="{B344D84D-320A-294C-8C9B-994A8AB26152}"/>
                  </a:ext>
                </a:extLst>
              </p:cNvPr>
              <p:cNvSpPr/>
              <p:nvPr/>
            </p:nvSpPr>
            <p:spPr>
              <a:xfrm>
                <a:off x="117913" y="7931017"/>
                <a:ext cx="8388190" cy="923330"/>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RIPLE EXTORTION</a:t>
                </a:r>
                <a:endParaRPr kumimoji="0" lang="en-US" sz="36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grpSp>
        <p:nvGrpSpPr>
          <p:cNvPr id="70" name="Group 69">
            <a:extLst>
              <a:ext uri="{FF2B5EF4-FFF2-40B4-BE49-F238E27FC236}">
                <a16:creationId xmlns:a16="http://schemas.microsoft.com/office/drawing/2014/main" id="{A57D8713-7615-CC44-AF69-4301A7DB98C3}"/>
              </a:ext>
            </a:extLst>
          </p:cNvPr>
          <p:cNvGrpSpPr/>
          <p:nvPr/>
        </p:nvGrpSpPr>
        <p:grpSpPr>
          <a:xfrm>
            <a:off x="388307" y="1684856"/>
            <a:ext cx="5263930" cy="2235869"/>
            <a:chOff x="596781" y="7294454"/>
            <a:chExt cx="10527860" cy="4471732"/>
          </a:xfrm>
        </p:grpSpPr>
        <p:sp>
          <p:nvSpPr>
            <p:cNvPr id="74" name="TextBox 73">
              <a:extLst>
                <a:ext uri="{FF2B5EF4-FFF2-40B4-BE49-F238E27FC236}">
                  <a16:creationId xmlns:a16="http://schemas.microsoft.com/office/drawing/2014/main" id="{3B13F469-4A8C-A04A-9BE6-A70C471DB900}"/>
                </a:ext>
              </a:extLst>
            </p:cNvPr>
            <p:cNvSpPr txBox="1"/>
            <p:nvPr/>
          </p:nvSpPr>
          <p:spPr>
            <a:xfrm>
              <a:off x="629635" y="8217783"/>
              <a:ext cx="7336602" cy="3548403"/>
            </a:xfrm>
            <a:prstGeom prst="rect">
              <a:avLst/>
            </a:prstGeom>
            <a:noFill/>
          </p:spPr>
          <p:txBody>
            <a:bodyPr wrap="square" rtlCol="0">
              <a:spAutoFit/>
            </a:bodyPr>
            <a:lstStyle/>
            <a:p>
              <a:pPr marL="285750" marR="0" lvl="0" indent="-285750" algn="l" defTabSz="914217" rtl="0" eaLnBrk="1" fontAlgn="auto" latinLnBrk="0" hangingPunct="1">
                <a:lnSpc>
                  <a:spcPts val="2150"/>
                </a:lnSpc>
                <a:spcBef>
                  <a:spcPts val="0"/>
                </a:spcBef>
                <a:spcAft>
                  <a:spcPts val="0"/>
                </a:spcAft>
                <a:buClrTx/>
                <a:buSzTx/>
                <a:buFont typeface="Arial" panose="020B0604020202020204" pitchFamily="34" charset="0"/>
                <a:buChar char="•"/>
                <a:tabLst/>
                <a:defRPr/>
              </a:pP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Malware that </a:t>
              </a:r>
              <a:r>
                <a:rPr kumimoji="0" lang="en-US" sz="1800" b="0" i="0" u="none" strike="noStrike" kern="1200" cap="none" spc="15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encrypts data</a:t>
              </a: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on systems to lock you out</a:t>
              </a:r>
            </a:p>
            <a:p>
              <a:pPr marL="285750" marR="0" lvl="0" indent="-285750" algn="l" defTabSz="914217" rtl="0" eaLnBrk="1" fontAlgn="auto" latinLnBrk="0" hangingPunct="1">
                <a:lnSpc>
                  <a:spcPts val="2150"/>
                </a:lnSpc>
                <a:spcBef>
                  <a:spcPts val="0"/>
                </a:spcBef>
                <a:spcAft>
                  <a:spcPts val="0"/>
                </a:spcAft>
                <a:buClrTx/>
                <a:buSzTx/>
                <a:buFont typeface="Arial" panose="020B0604020202020204" pitchFamily="34" charset="0"/>
                <a:buChar char="•"/>
                <a:tabLst/>
                <a:defRPr/>
              </a:pP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hreat actors demand a ransom to “</a:t>
              </a:r>
              <a:r>
                <a:rPr kumimoji="0" lang="en-US" sz="1800" b="0" i="0" u="none" strike="noStrike" kern="1200" cap="none" spc="15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decrypt</a:t>
              </a: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 the systems</a:t>
              </a:r>
            </a:p>
          </p:txBody>
        </p:sp>
        <p:sp>
          <p:nvSpPr>
            <p:cNvPr id="75" name="Rectangle 74">
              <a:extLst>
                <a:ext uri="{FF2B5EF4-FFF2-40B4-BE49-F238E27FC236}">
                  <a16:creationId xmlns:a16="http://schemas.microsoft.com/office/drawing/2014/main" id="{42156322-0F2D-1B4D-AED5-8C3D43EF125B}"/>
                </a:ext>
              </a:extLst>
            </p:cNvPr>
            <p:cNvSpPr/>
            <p:nvPr/>
          </p:nvSpPr>
          <p:spPr>
            <a:xfrm>
              <a:off x="596781" y="7294454"/>
              <a:ext cx="10527860" cy="923329"/>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WHAT IS RANSOMWARE?</a:t>
              </a:r>
              <a:endParaRPr kumimoji="0" lang="en-US" sz="36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1" name="Group 70">
            <a:extLst>
              <a:ext uri="{FF2B5EF4-FFF2-40B4-BE49-F238E27FC236}">
                <a16:creationId xmlns:a16="http://schemas.microsoft.com/office/drawing/2014/main" id="{2D47568C-E5DB-744A-82AA-7BB0F712DACA}"/>
              </a:ext>
            </a:extLst>
          </p:cNvPr>
          <p:cNvGrpSpPr/>
          <p:nvPr/>
        </p:nvGrpSpPr>
        <p:grpSpPr>
          <a:xfrm>
            <a:off x="404734" y="4467712"/>
            <a:ext cx="3059821" cy="1671612"/>
            <a:chOff x="1485623" y="7643696"/>
            <a:chExt cx="5259034" cy="3343221"/>
          </a:xfrm>
        </p:grpSpPr>
        <p:sp>
          <p:nvSpPr>
            <p:cNvPr id="72" name="TextBox 71">
              <a:extLst>
                <a:ext uri="{FF2B5EF4-FFF2-40B4-BE49-F238E27FC236}">
                  <a16:creationId xmlns:a16="http://schemas.microsoft.com/office/drawing/2014/main" id="{21B18BE2-4C7C-994A-8681-0DCCD3B6F507}"/>
                </a:ext>
              </a:extLst>
            </p:cNvPr>
            <p:cNvSpPr txBox="1"/>
            <p:nvPr/>
          </p:nvSpPr>
          <p:spPr>
            <a:xfrm>
              <a:off x="1485623" y="8567025"/>
              <a:ext cx="5120964" cy="2419892"/>
            </a:xfrm>
            <a:prstGeom prst="rect">
              <a:avLst/>
            </a:prstGeom>
            <a:noFill/>
          </p:spPr>
          <p:txBody>
            <a:bodyPr wrap="square" rtlCol="0">
              <a:spAutoFit/>
            </a:bodyPr>
            <a:lstStyle/>
            <a:p>
              <a:pPr marL="285750" marR="0" lvl="0" indent="-285750" algn="l" defTabSz="914217" rtl="0" eaLnBrk="1" fontAlgn="auto" latinLnBrk="0" hangingPunct="1">
                <a:lnSpc>
                  <a:spcPts val="2150"/>
                </a:lnSpc>
                <a:spcBef>
                  <a:spcPts val="0"/>
                </a:spcBef>
                <a:spcAft>
                  <a:spcPts val="0"/>
                </a:spcAft>
                <a:buClrTx/>
                <a:buSzTx/>
                <a:buFont typeface="Arial" panose="020B0604020202020204" pitchFamily="34" charset="0"/>
                <a:buChar char="•"/>
                <a:tabLst/>
                <a:defRPr/>
              </a:pP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Systems encrypted OR data stolen and </a:t>
              </a:r>
              <a:r>
                <a:rPr kumimoji="0" lang="en-US" sz="1800" b="0" i="0" u="none" strike="noStrike" kern="1200" cap="none" spc="150" normalizeH="0" baseline="0" noProof="0">
                  <a:ln>
                    <a:noFill/>
                  </a:ln>
                  <a:solidFill>
                    <a:srgbClr val="FF0000"/>
                  </a:solidFill>
                  <a:effectLst/>
                  <a:uLnTx/>
                  <a:uFillTx/>
                  <a:latin typeface="Open Sans" panose="020B0606030504020204" pitchFamily="34" charset="0"/>
                  <a:ea typeface="Open Sans" panose="020B0606030504020204" pitchFamily="34" charset="0"/>
                  <a:cs typeface="Open Sans" panose="020B0606030504020204" pitchFamily="34" charset="0"/>
                </a:rPr>
                <a:t>demand of ransom </a:t>
              </a:r>
              <a:r>
                <a:rPr kumimoji="0" lang="en-US" sz="1800" b="0" i="0" u="none" strike="noStrike" kern="1200" cap="none" spc="15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to resolve</a:t>
              </a:r>
            </a:p>
          </p:txBody>
        </p:sp>
        <p:sp>
          <p:nvSpPr>
            <p:cNvPr id="73" name="Rectangle 72">
              <a:extLst>
                <a:ext uri="{FF2B5EF4-FFF2-40B4-BE49-F238E27FC236}">
                  <a16:creationId xmlns:a16="http://schemas.microsoft.com/office/drawing/2014/main" id="{03FE6CDD-2A07-2146-A5AF-597869A6DA53}"/>
                </a:ext>
              </a:extLst>
            </p:cNvPr>
            <p:cNvSpPr/>
            <p:nvPr/>
          </p:nvSpPr>
          <p:spPr>
            <a:xfrm>
              <a:off x="1485623" y="7643696"/>
              <a:ext cx="5259034" cy="923329"/>
            </a:xfrm>
            <a:prstGeom prst="rect">
              <a:avLst/>
            </a:prstGeom>
          </p:spPr>
          <p:txBody>
            <a:bodyPr wrap="square">
              <a:spAutoFit/>
            </a:bodyPr>
            <a:lstStyle/>
            <a:p>
              <a:pPr marL="0" marR="0" lvl="0" indent="0" algn="l" defTabSz="914217"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300" normalizeH="0" baseline="0" noProof="0">
                  <a:ln>
                    <a:noFill/>
                  </a:ln>
                  <a:solidFill>
                    <a:srgbClr val="FFFFFF"/>
                  </a:solidFill>
                  <a:effectLst/>
                  <a:uLnTx/>
                  <a:uFillTx/>
                  <a:latin typeface="Open Sans" panose="020B0606030504020204" pitchFamily="34" charset="0"/>
                  <a:ea typeface="Open Sans" panose="020B0606030504020204" pitchFamily="34" charset="0"/>
                  <a:cs typeface="Open Sans" panose="020B0606030504020204" pitchFamily="34" charset="0"/>
                </a:rPr>
                <a:t>EXTORTION</a:t>
              </a:r>
            </a:p>
          </p:txBody>
        </p:sp>
      </p:grpSp>
      <p:pic>
        <p:nvPicPr>
          <p:cNvPr id="5" name="Graphic 4" descr="Internet outline">
            <a:extLst>
              <a:ext uri="{FF2B5EF4-FFF2-40B4-BE49-F238E27FC236}">
                <a16:creationId xmlns:a16="http://schemas.microsoft.com/office/drawing/2014/main" id="{5BE72246-838F-FC26-2BDA-9579388D16B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17859" y="2271908"/>
            <a:ext cx="914400" cy="914400"/>
          </a:xfrm>
          <a:prstGeom prst="rect">
            <a:avLst/>
          </a:prstGeom>
        </p:spPr>
      </p:pic>
      <p:pic>
        <p:nvPicPr>
          <p:cNvPr id="7" name="Graphic 6" descr="No Phones outline">
            <a:extLst>
              <a:ext uri="{FF2B5EF4-FFF2-40B4-BE49-F238E27FC236}">
                <a16:creationId xmlns:a16="http://schemas.microsoft.com/office/drawing/2014/main" id="{0F527B3C-C7FF-3A75-2D76-2D1814E6B32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6274" y="3655647"/>
            <a:ext cx="914400" cy="914400"/>
          </a:xfrm>
          <a:prstGeom prst="rect">
            <a:avLst/>
          </a:prstGeom>
        </p:spPr>
      </p:pic>
      <p:pic>
        <p:nvPicPr>
          <p:cNvPr id="16" name="Graphic 15" descr="Research with solid fill">
            <a:extLst>
              <a:ext uri="{FF2B5EF4-FFF2-40B4-BE49-F238E27FC236}">
                <a16:creationId xmlns:a16="http://schemas.microsoft.com/office/drawing/2014/main" id="{EC94D434-9499-B727-63AD-9D9F2A505F1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59672" y="3644607"/>
            <a:ext cx="914400" cy="914400"/>
          </a:xfrm>
          <a:prstGeom prst="rect">
            <a:avLst/>
          </a:prstGeom>
        </p:spPr>
      </p:pic>
      <p:pic>
        <p:nvPicPr>
          <p:cNvPr id="18" name="Graphic 17" descr="Coins outline">
            <a:extLst>
              <a:ext uri="{FF2B5EF4-FFF2-40B4-BE49-F238E27FC236}">
                <a16:creationId xmlns:a16="http://schemas.microsoft.com/office/drawing/2014/main" id="{49808F43-90C0-949A-E286-921FD16F5C9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52237" y="4998419"/>
            <a:ext cx="914400" cy="914400"/>
          </a:xfrm>
          <a:prstGeom prst="rect">
            <a:avLst/>
          </a:prstGeom>
        </p:spPr>
      </p:pic>
    </p:spTree>
    <p:extLst>
      <p:ext uri="{BB962C8B-B14F-4D97-AF65-F5344CB8AC3E}">
        <p14:creationId xmlns:p14="http://schemas.microsoft.com/office/powerpoint/2010/main" val="4138948325"/>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3D7E28C-BF03-0082-FB4A-909710B83849}"/>
              </a:ext>
            </a:extLst>
          </p:cNvPr>
          <p:cNvSpPr>
            <a:spLocks noGrp="1"/>
          </p:cNvSpPr>
          <p:nvPr>
            <p:ph type="body" sz="quarter" idx="10"/>
          </p:nvPr>
        </p:nvSpPr>
        <p:spPr>
          <a:xfrm>
            <a:off x="8610600" y="2576512"/>
            <a:ext cx="3200400" cy="854075"/>
          </a:xfrm>
        </p:spPr>
        <p:txBody>
          <a:bodyPr/>
          <a:lstStyle/>
          <a:p>
            <a:r>
              <a:rPr lang="en-US" b="1"/>
              <a:t>To Pay or Not To Pay a Ransom</a:t>
            </a:r>
          </a:p>
        </p:txBody>
      </p:sp>
      <p:sp>
        <p:nvSpPr>
          <p:cNvPr id="4" name="Text Placeholder 3">
            <a:extLst>
              <a:ext uri="{FF2B5EF4-FFF2-40B4-BE49-F238E27FC236}">
                <a16:creationId xmlns:a16="http://schemas.microsoft.com/office/drawing/2014/main" id="{D343CC8D-4DA5-44A4-9D56-BB1A3E343DA3}"/>
              </a:ext>
            </a:extLst>
          </p:cNvPr>
          <p:cNvSpPr>
            <a:spLocks noGrp="1"/>
          </p:cNvSpPr>
          <p:nvPr>
            <p:ph type="body" sz="quarter" idx="61"/>
          </p:nvPr>
        </p:nvSpPr>
        <p:spPr/>
        <p:txBody>
          <a:bodyPr>
            <a:normAutofit fontScale="92500" lnSpcReduction="20000"/>
          </a:bodyPr>
          <a:lstStyle/>
          <a:p>
            <a:pPr>
              <a:buClr>
                <a:schemeClr val="accent5"/>
              </a:buClr>
            </a:pPr>
            <a:r>
              <a:rPr lang="en-US" kern="100">
                <a:solidFill>
                  <a:schemeClr val="accent5"/>
                </a:solidFill>
                <a:ea typeface="Times New Roman" panose="02020603050405020304" pitchFamily="18" charset="0"/>
                <a:cs typeface="Times New Roman" panose="02020603050405020304" pitchFamily="18" charset="0"/>
              </a:rPr>
              <a:t>Determining whether or not to pay a ransom is often a difficult (and expensive) decision which includes </a:t>
            </a:r>
            <a:r>
              <a:rPr lang="en-US" kern="100">
                <a:solidFill>
                  <a:srgbClr val="FF0000"/>
                </a:solidFill>
                <a:ea typeface="Times New Roman" panose="02020603050405020304" pitchFamily="18" charset="0"/>
                <a:cs typeface="Times New Roman" panose="02020603050405020304" pitchFamily="18" charset="0"/>
              </a:rPr>
              <a:t>significant legal considerations</a:t>
            </a:r>
            <a:r>
              <a:rPr lang="en-US" kern="100">
                <a:solidFill>
                  <a:schemeClr val="accent5"/>
                </a:solidFill>
                <a:ea typeface="Times New Roman" panose="02020603050405020304" pitchFamily="18" charset="0"/>
                <a:cs typeface="Times New Roman" panose="02020603050405020304" pitchFamily="18" charset="0"/>
              </a:rPr>
              <a:t>.</a:t>
            </a:r>
          </a:p>
          <a:p>
            <a:pPr>
              <a:buClr>
                <a:schemeClr val="accent5"/>
              </a:buClr>
            </a:pPr>
            <a:endParaRPr lang="en-US" kern="100">
              <a:solidFill>
                <a:schemeClr val="accent5"/>
              </a:solidFill>
              <a:effectLst/>
              <a:ea typeface="Times New Roman" panose="02020603050405020304" pitchFamily="18" charset="0"/>
              <a:cs typeface="Times New Roman" panose="02020603050405020304" pitchFamily="18" charset="0"/>
            </a:endParaRPr>
          </a:p>
          <a:p>
            <a:pPr>
              <a:buClr>
                <a:schemeClr val="accent5"/>
              </a:buClr>
            </a:pPr>
            <a:r>
              <a:rPr lang="en-US" b="1" kern="100">
                <a:solidFill>
                  <a:schemeClr val="accent5"/>
                </a:solidFill>
                <a:effectLst/>
                <a:ea typeface="Times New Roman" panose="02020603050405020304" pitchFamily="18" charset="0"/>
                <a:cs typeface="Times New Roman" panose="02020603050405020304" pitchFamily="18" charset="0"/>
              </a:rPr>
              <a:t>Office of Foreign Assets Control (OFAC): </a:t>
            </a:r>
            <a:r>
              <a:rPr lang="en-US" kern="100">
                <a:solidFill>
                  <a:schemeClr val="accent5"/>
                </a:solidFill>
                <a:effectLst/>
                <a:ea typeface="Times New Roman" panose="02020603050405020304" pitchFamily="18" charset="0"/>
                <a:cs typeface="Times New Roman" panose="02020603050405020304" pitchFamily="18" charset="0"/>
              </a:rPr>
              <a:t>OFAC has a “sanctions list” </a:t>
            </a:r>
            <a:r>
              <a:rPr lang="en-US" kern="100">
                <a:solidFill>
                  <a:srgbClr val="FF0000"/>
                </a:solidFill>
                <a:effectLst/>
                <a:ea typeface="Times New Roman" panose="02020603050405020304" pitchFamily="18" charset="0"/>
                <a:cs typeface="Times New Roman" panose="02020603050405020304" pitchFamily="18" charset="0"/>
              </a:rPr>
              <a:t>that prohibits ransom payments </a:t>
            </a:r>
            <a:r>
              <a:rPr lang="en-US" kern="100">
                <a:solidFill>
                  <a:schemeClr val="accent5"/>
                </a:solidFill>
                <a:effectLst/>
                <a:ea typeface="Times New Roman" panose="02020603050405020304" pitchFamily="18" charset="0"/>
                <a:cs typeface="Times New Roman" panose="02020603050405020304" pitchFamily="18" charset="0"/>
              </a:rPr>
              <a:t>to specified threat actor groups.  </a:t>
            </a:r>
          </a:p>
          <a:p>
            <a:pPr lvl="1">
              <a:buClr>
                <a:schemeClr val="accent5"/>
              </a:buClr>
            </a:pPr>
            <a:r>
              <a:rPr lang="en-US" kern="100">
                <a:solidFill>
                  <a:schemeClr val="accent5"/>
                </a:solidFill>
                <a:effectLst/>
                <a:ea typeface="Times New Roman" panose="02020603050405020304" pitchFamily="18" charset="0"/>
                <a:cs typeface="Times New Roman" panose="02020603050405020304" pitchFamily="18" charset="0"/>
              </a:rPr>
              <a:t>Civil penalties may be imposed for violations</a:t>
            </a:r>
          </a:p>
          <a:p>
            <a:pPr>
              <a:buClr>
                <a:schemeClr val="accent5"/>
              </a:buClr>
            </a:pPr>
            <a:endParaRPr lang="en-US" kern="100">
              <a:effectLst/>
              <a:ea typeface="Times New Roman" panose="02020603050405020304" pitchFamily="18" charset="0"/>
              <a:cs typeface="Times New Roman" panose="02020603050405020304" pitchFamily="18" charset="0"/>
            </a:endParaRPr>
          </a:p>
          <a:p>
            <a:pPr>
              <a:buClr>
                <a:schemeClr val="accent5"/>
              </a:buClr>
            </a:pPr>
            <a:r>
              <a:rPr lang="en-US" b="1" kern="100">
                <a:solidFill>
                  <a:schemeClr val="accent5"/>
                </a:solidFill>
                <a:effectLst/>
                <a:ea typeface="Times New Roman" panose="02020603050405020304" pitchFamily="18" charset="0"/>
                <a:cs typeface="Times New Roman" panose="02020603050405020304" pitchFamily="18" charset="0"/>
              </a:rPr>
              <a:t>State Law Prohibitions</a:t>
            </a:r>
            <a:r>
              <a:rPr lang="en-US" kern="100">
                <a:solidFill>
                  <a:schemeClr val="accent5"/>
                </a:solidFill>
                <a:effectLst/>
                <a:ea typeface="Times New Roman" panose="02020603050405020304" pitchFamily="18" charset="0"/>
                <a:cs typeface="Times New Roman" panose="02020603050405020304" pitchFamily="18" charset="0"/>
              </a:rPr>
              <a:t>: Certain states have enacted laws </a:t>
            </a:r>
            <a:r>
              <a:rPr lang="en-US" kern="100">
                <a:solidFill>
                  <a:srgbClr val="FF0000"/>
                </a:solidFill>
                <a:effectLst/>
                <a:ea typeface="Times New Roman" panose="02020603050405020304" pitchFamily="18" charset="0"/>
                <a:cs typeface="Times New Roman" panose="02020603050405020304" pitchFamily="18" charset="0"/>
              </a:rPr>
              <a:t>prohibiting</a:t>
            </a:r>
            <a:r>
              <a:rPr lang="en-US" kern="100">
                <a:solidFill>
                  <a:schemeClr val="accent5"/>
                </a:solidFill>
                <a:effectLst/>
                <a:ea typeface="Times New Roman" panose="02020603050405020304" pitchFamily="18" charset="0"/>
                <a:cs typeface="Times New Roman" panose="02020603050405020304" pitchFamily="18" charset="0"/>
              </a:rPr>
              <a:t> public agencies and municipalities from paying ransoms and/or use of taxpayer funds for payment of ransoms</a:t>
            </a:r>
          </a:p>
          <a:p>
            <a:pPr lvl="1">
              <a:buClr>
                <a:schemeClr val="accent5"/>
              </a:buClr>
            </a:pPr>
            <a:r>
              <a:rPr lang="en-US" kern="100">
                <a:solidFill>
                  <a:schemeClr val="accent5"/>
                </a:solidFill>
                <a:effectLst/>
                <a:ea typeface="Times New Roman" panose="02020603050405020304" pitchFamily="18" charset="0"/>
                <a:cs typeface="Times New Roman" panose="02020603050405020304" pitchFamily="18" charset="0"/>
              </a:rPr>
              <a:t>No federal laws specifically limit payment of ransoms, but several federal agencies have issued </a:t>
            </a:r>
            <a:r>
              <a:rPr lang="en-US" kern="100">
                <a:solidFill>
                  <a:srgbClr val="FF0000"/>
                </a:solidFill>
                <a:effectLst/>
                <a:ea typeface="Times New Roman" panose="02020603050405020304" pitchFamily="18" charset="0"/>
                <a:cs typeface="Times New Roman" panose="02020603050405020304" pitchFamily="18" charset="0"/>
              </a:rPr>
              <a:t>guidance against such payments</a:t>
            </a:r>
          </a:p>
          <a:p>
            <a:pPr lvl="1">
              <a:buClr>
                <a:schemeClr val="accent5"/>
              </a:buClr>
            </a:pPr>
            <a:endParaRPr lang="en-US" kern="100">
              <a:solidFill>
                <a:schemeClr val="accent5"/>
              </a:solidFill>
              <a:effectLst/>
              <a:ea typeface="Times New Roman" panose="02020603050405020304" pitchFamily="18" charset="0"/>
              <a:cs typeface="Times New Roman" panose="02020603050405020304" pitchFamily="18" charset="0"/>
            </a:endParaRPr>
          </a:p>
          <a:p>
            <a:pPr>
              <a:buClr>
                <a:schemeClr val="accent5"/>
              </a:buClr>
            </a:pPr>
            <a:r>
              <a:rPr lang="en-US" kern="100">
                <a:solidFill>
                  <a:schemeClr val="accent5"/>
                </a:solidFill>
                <a:effectLst/>
                <a:ea typeface="Times New Roman" panose="02020603050405020304" pitchFamily="18" charset="0"/>
                <a:cs typeface="Times New Roman" panose="02020603050405020304" pitchFamily="18" charset="0"/>
              </a:rPr>
              <a:t>Critical to </a:t>
            </a:r>
            <a:r>
              <a:rPr lang="en-US" kern="100">
                <a:solidFill>
                  <a:srgbClr val="FF0000"/>
                </a:solidFill>
                <a:ea typeface="Times New Roman" panose="02020603050405020304" pitchFamily="18" charset="0"/>
                <a:cs typeface="Times New Roman" panose="02020603050405020304" pitchFamily="18" charset="0"/>
              </a:rPr>
              <a:t>always involve legal counsel and other third-party experts </a:t>
            </a:r>
            <a:r>
              <a:rPr lang="en-US" kern="100">
                <a:solidFill>
                  <a:schemeClr val="accent5"/>
                </a:solidFill>
                <a:effectLst/>
                <a:ea typeface="Times New Roman" panose="02020603050405020304" pitchFamily="18" charset="0"/>
                <a:cs typeface="Times New Roman" panose="02020603050405020304" pitchFamily="18" charset="0"/>
              </a:rPr>
              <a:t>before deciding whether or not to make a payment.  </a:t>
            </a:r>
          </a:p>
          <a:p>
            <a:endParaRPr lang="en-US"/>
          </a:p>
        </p:txBody>
      </p:sp>
    </p:spTree>
    <p:extLst>
      <p:ext uri="{BB962C8B-B14F-4D97-AF65-F5344CB8AC3E}">
        <p14:creationId xmlns:p14="http://schemas.microsoft.com/office/powerpoint/2010/main" val="210598280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9F9A8C-4935-79B8-CA27-99246B505103}"/>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B982385-80AA-EEF3-FA46-D6DB1BD91E96}"/>
              </a:ext>
            </a:extLst>
          </p:cNvPr>
          <p:cNvSpPr>
            <a:spLocks noGrp="1"/>
          </p:cNvSpPr>
          <p:nvPr>
            <p:ph type="body" sz="quarter" idx="18"/>
          </p:nvPr>
        </p:nvSpPr>
        <p:spPr>
          <a:xfrm>
            <a:off x="6105331" y="1983250"/>
            <a:ext cx="5486400" cy="3384088"/>
          </a:xfrm>
        </p:spPr>
        <p:txBody>
          <a:bodyPr/>
          <a:lstStyle/>
          <a:p>
            <a:pPr>
              <a:buClr>
                <a:schemeClr val="accent1"/>
              </a:buClr>
            </a:pPr>
            <a:r>
              <a:rPr lang="en-US" b="1" dirty="0">
                <a:solidFill>
                  <a:srgbClr val="214B66"/>
                </a:solidFill>
                <a:cs typeface="Poppins" panose="00000500000000000000" pitchFamily="2" charset="0"/>
              </a:rPr>
              <a:t>Deepfakes</a:t>
            </a:r>
          </a:p>
          <a:p>
            <a:pPr lvl="1">
              <a:buClr>
                <a:schemeClr val="accent1"/>
              </a:buClr>
            </a:pPr>
            <a:r>
              <a:rPr lang="en-US" dirty="0">
                <a:solidFill>
                  <a:srgbClr val="214B66"/>
                </a:solidFill>
                <a:cs typeface="Poppins" panose="00000500000000000000" pitchFamily="2" charset="0"/>
              </a:rPr>
              <a:t>Impersonating company representatives, government officials, celebrities, etc.</a:t>
            </a:r>
          </a:p>
          <a:p>
            <a:pPr>
              <a:buClr>
                <a:schemeClr val="accent1"/>
              </a:buClr>
            </a:pPr>
            <a:endParaRPr lang="en-US" b="1" dirty="0">
              <a:solidFill>
                <a:srgbClr val="214B66"/>
              </a:solidFill>
              <a:cs typeface="Poppins" panose="00000500000000000000" pitchFamily="2" charset="0"/>
            </a:endParaRPr>
          </a:p>
          <a:p>
            <a:pPr>
              <a:buClr>
                <a:schemeClr val="accent1"/>
              </a:buClr>
            </a:pPr>
            <a:r>
              <a:rPr lang="en-US" b="1" dirty="0">
                <a:solidFill>
                  <a:srgbClr val="214B66"/>
                </a:solidFill>
                <a:cs typeface="Poppins" panose="00000500000000000000" pitchFamily="2" charset="0"/>
              </a:rPr>
              <a:t>Phishing Attacks</a:t>
            </a:r>
          </a:p>
          <a:p>
            <a:pPr lvl="1">
              <a:buClr>
                <a:schemeClr val="accent1"/>
              </a:buClr>
            </a:pPr>
            <a:r>
              <a:rPr lang="en-US" dirty="0">
                <a:solidFill>
                  <a:srgbClr val="214B66"/>
                </a:solidFill>
                <a:cs typeface="Poppins" panose="00000500000000000000" pitchFamily="2" charset="0"/>
              </a:rPr>
              <a:t>More sophisticated, better at impersonation, challenging to detect</a:t>
            </a:r>
          </a:p>
          <a:p>
            <a:pPr lvl="1">
              <a:buClr>
                <a:schemeClr val="accent1"/>
              </a:buClr>
            </a:pPr>
            <a:endParaRPr lang="en-US" dirty="0">
              <a:solidFill>
                <a:srgbClr val="214B66"/>
              </a:solidFill>
              <a:cs typeface="Poppins" panose="00000500000000000000" pitchFamily="2" charset="0"/>
            </a:endParaRPr>
          </a:p>
          <a:p>
            <a:pPr>
              <a:buClr>
                <a:schemeClr val="accent1"/>
              </a:buClr>
            </a:pPr>
            <a:endParaRPr lang="en-US" dirty="0">
              <a:solidFill>
                <a:srgbClr val="214B66"/>
              </a:solidFill>
              <a:cs typeface="Poppins" panose="00000500000000000000" pitchFamily="2" charset="0"/>
            </a:endParaRPr>
          </a:p>
        </p:txBody>
      </p:sp>
      <p:sp>
        <p:nvSpPr>
          <p:cNvPr id="2" name="Text Placeholder 1">
            <a:extLst>
              <a:ext uri="{FF2B5EF4-FFF2-40B4-BE49-F238E27FC236}">
                <a16:creationId xmlns:a16="http://schemas.microsoft.com/office/drawing/2014/main" id="{66F42C9C-E46C-C2AF-31FB-40117B3C6A48}"/>
              </a:ext>
            </a:extLst>
          </p:cNvPr>
          <p:cNvSpPr>
            <a:spLocks noGrp="1"/>
          </p:cNvSpPr>
          <p:nvPr>
            <p:ph type="body" sz="quarter" idx="15"/>
          </p:nvPr>
        </p:nvSpPr>
        <p:spPr/>
        <p:txBody>
          <a:bodyPr/>
          <a:lstStyle/>
          <a:p>
            <a:r>
              <a:rPr lang="en-US" dirty="0">
                <a:solidFill>
                  <a:srgbClr val="214B66"/>
                </a:solidFill>
                <a:cs typeface="Poppins" panose="00000500000000000000" pitchFamily="2" charset="0"/>
              </a:rPr>
              <a:t>CYBERATTACKS POWERED BY AI</a:t>
            </a:r>
          </a:p>
        </p:txBody>
      </p:sp>
      <p:sp>
        <p:nvSpPr>
          <p:cNvPr id="3" name="Text Placeholder 2">
            <a:extLst>
              <a:ext uri="{FF2B5EF4-FFF2-40B4-BE49-F238E27FC236}">
                <a16:creationId xmlns:a16="http://schemas.microsoft.com/office/drawing/2014/main" id="{C474A6FF-ECFD-7856-B886-05996A9BCE48}"/>
              </a:ext>
            </a:extLst>
          </p:cNvPr>
          <p:cNvSpPr>
            <a:spLocks noGrp="1"/>
          </p:cNvSpPr>
          <p:nvPr>
            <p:ph type="body" sz="quarter" idx="16"/>
          </p:nvPr>
        </p:nvSpPr>
        <p:spPr/>
        <p:txBody>
          <a:bodyPr/>
          <a:lstStyle/>
          <a:p>
            <a:endParaRPr lang="en-US"/>
          </a:p>
        </p:txBody>
      </p:sp>
      <p:pic>
        <p:nvPicPr>
          <p:cNvPr id="6" name="Picture 5">
            <a:extLst>
              <a:ext uri="{FF2B5EF4-FFF2-40B4-BE49-F238E27FC236}">
                <a16:creationId xmlns:a16="http://schemas.microsoft.com/office/drawing/2014/main" id="{3ADE7C33-FA44-7DB2-B133-DD42A27935DF}"/>
              </a:ext>
            </a:extLst>
          </p:cNvPr>
          <p:cNvPicPr>
            <a:picLocks noChangeAspect="1"/>
          </p:cNvPicPr>
          <p:nvPr/>
        </p:nvPicPr>
        <p:blipFill>
          <a:blip r:embed="rId3"/>
          <a:srcRect/>
          <a:stretch/>
        </p:blipFill>
        <p:spPr>
          <a:xfrm>
            <a:off x="390331" y="1745349"/>
            <a:ext cx="5288574" cy="410641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3384434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4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3.xml><?xml version="1.0" encoding="utf-8"?>
<a:theme xmlns:a="http://schemas.openxmlformats.org/drawingml/2006/main" name="5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4.xml><?xml version="1.0" encoding="utf-8"?>
<a:theme xmlns:a="http://schemas.openxmlformats.org/drawingml/2006/main" name="2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5.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9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
        <a:cs typeface=""/>
      </a:majorFont>
      <a:minorFont>
        <a:latin typeface="Open Sa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7.xml><?xml version="1.0" encoding="utf-8"?>
<a:theme xmlns:a="http://schemas.openxmlformats.org/drawingml/2006/main" name="2_Baker Donelson">
  <a:themeElements>
    <a:clrScheme name="Baker Donelson Blue">
      <a:dk1>
        <a:srgbClr val="181818"/>
      </a:dk1>
      <a:lt1>
        <a:sysClr val="window" lastClr="FFFFFF"/>
      </a:lt1>
      <a:dk2>
        <a:srgbClr val="057091"/>
      </a:dk2>
      <a:lt2>
        <a:srgbClr val="F2F2F2"/>
      </a:lt2>
      <a:accent1>
        <a:srgbClr val="033453"/>
      </a:accent1>
      <a:accent2>
        <a:srgbClr val="006983"/>
      </a:accent2>
      <a:accent3>
        <a:srgbClr val="D52B1E"/>
      </a:accent3>
      <a:accent4>
        <a:srgbClr val="1E4A66"/>
      </a:accent4>
      <a:accent5>
        <a:srgbClr val="6E6F73"/>
      </a:accent5>
      <a:accent6>
        <a:srgbClr val="FF5657"/>
      </a:accent6>
      <a:hlink>
        <a:srgbClr val="9C1428"/>
      </a:hlink>
      <a:folHlink>
        <a:srgbClr val="750E1E"/>
      </a:folHlink>
    </a:clrScheme>
    <a:fontScheme name="Custom 1">
      <a:majorFont>
        <a:latin typeface="Poppins"/>
        <a:ea typeface=""/>
        <a:cs typeface=""/>
      </a:majorFont>
      <a:minorFont>
        <a:latin typeface="Poppins"/>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dirty="0"/>
        </a:defPPr>
      </a:lstStyle>
      <a:style>
        <a:lnRef idx="2">
          <a:schemeClr val="accent6">
            <a:shade val="50000"/>
          </a:schemeClr>
        </a:lnRef>
        <a:fillRef idx="1">
          <a:schemeClr val="accent6"/>
        </a:fillRef>
        <a:effectRef idx="0">
          <a:schemeClr val="accent6"/>
        </a:effectRef>
        <a:fontRef idx="minor">
          <a:schemeClr val="lt1"/>
        </a:fontRef>
      </a:style>
    </a:spDef>
  </a:objectDefaults>
  <a:extraClrSchemeLst/>
  <a:extLst>
    <a:ext uri="{05A4C25C-085E-4340-85A3-A5531E510DB2}">
      <thm15:themeFamily xmlns:thm15="http://schemas.microsoft.com/office/thememl/2012/main" name="Collaborative Work Flow (V2).potx" id="{6A4DD10F-76F6-48BA-9ABF-C85C8CF4F4C9}" vid="{2BF315CD-23D9-4BBE-AF3B-F307E1504F29}"/>
    </a:ext>
  </a:extLst>
</a:theme>
</file>

<file path=ppt/theme/theme8.xml><?xml version="1.0" encoding="utf-8"?>
<a:theme xmlns:a="http://schemas.openxmlformats.org/drawingml/2006/main" name="6_Office Theme">
  <a:themeElements>
    <a:clrScheme name="Prius">
      <a:dk1>
        <a:srgbClr val="FFFFFF"/>
      </a:dk1>
      <a:lt1>
        <a:srgbClr val="FFFFFF"/>
      </a:lt1>
      <a:dk2>
        <a:srgbClr val="FFFFFF"/>
      </a:dk2>
      <a:lt2>
        <a:srgbClr val="363E48"/>
      </a:lt2>
      <a:accent1>
        <a:srgbClr val="DB161B"/>
      </a:accent1>
      <a:accent2>
        <a:srgbClr val="EE554B"/>
      </a:accent2>
      <a:accent3>
        <a:srgbClr val="DB161B"/>
      </a:accent3>
      <a:accent4>
        <a:srgbClr val="EE554B"/>
      </a:accent4>
      <a:accent5>
        <a:srgbClr val="DB161B"/>
      </a:accent5>
      <a:accent6>
        <a:srgbClr val="EE554B"/>
      </a:accent6>
      <a:hlink>
        <a:srgbClr val="1E9272"/>
      </a:hlink>
      <a:folHlink>
        <a:srgbClr val="AC2624"/>
      </a:folHlink>
    </a:clrScheme>
    <a:fontScheme name="Office Them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9.xml><?xml version="1.0" encoding="utf-8"?>
<a:theme xmlns:a="http://schemas.openxmlformats.org/drawingml/2006/main" name="7_Office Theme">
  <a:themeElements>
    <a:clrScheme name="Baker Donelson - NEW">
      <a:dk1>
        <a:srgbClr val="666666"/>
      </a:dk1>
      <a:lt1>
        <a:srgbClr val="FFFFFF"/>
      </a:lt1>
      <a:dk2>
        <a:srgbClr val="999999"/>
      </a:dk2>
      <a:lt2>
        <a:srgbClr val="FFFFFF"/>
      </a:lt2>
      <a:accent1>
        <a:srgbClr val="D52B1E"/>
      </a:accent1>
      <a:accent2>
        <a:srgbClr val="FF9900"/>
      </a:accent2>
      <a:accent3>
        <a:srgbClr val="359B4C"/>
      </a:accent3>
      <a:accent4>
        <a:srgbClr val="00BBEE"/>
      </a:accent4>
      <a:accent5>
        <a:srgbClr val="006983"/>
      </a:accent5>
      <a:accent6>
        <a:srgbClr val="993399"/>
      </a:accent6>
      <a:hlink>
        <a:srgbClr val="D52B1E"/>
      </a:hlink>
      <a:folHlink>
        <a:srgbClr val="006983"/>
      </a:folHlink>
    </a:clrScheme>
    <a:fontScheme name="Open Sans">
      <a:majorFont>
        <a:latin typeface="Open Sans semibold"/>
        <a:ea typeface="Open Sans semibold"/>
        <a:cs typeface="Arial"/>
      </a:majorFont>
      <a:minorFont>
        <a:latin typeface="Open Sans"/>
        <a:ea typeface="Open Sans"/>
        <a:cs typeface="Arial"/>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D1532F43D2BB8429933A191CE991559" ma:contentTypeVersion="0" ma:contentTypeDescription="Create a new document." ma:contentTypeScope="" ma:versionID="61a0daf058e85abeb466bc0c6246dec2">
  <xsd:schema xmlns:xsd="http://www.w3.org/2001/XMLSchema" xmlns:xs="http://www.w3.org/2001/XMLSchema" xmlns:p="http://schemas.microsoft.com/office/2006/metadata/properties" targetNamespace="http://schemas.microsoft.com/office/2006/metadata/properties" ma:root="true" ma:fieldsID="31d5eec3c12ee2e8127422d567928fa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86D7B73-89C7-40E2-A71E-7781FE301767}">
  <ds:schemaRefs>
    <ds:schemaRef ds:uri="http://schemas.microsoft.com/sharepoint/v3/contenttype/forms"/>
  </ds:schemaRefs>
</ds:datastoreItem>
</file>

<file path=customXml/itemProps2.xml><?xml version="1.0" encoding="utf-8"?>
<ds:datastoreItem xmlns:ds="http://schemas.openxmlformats.org/officeDocument/2006/customXml" ds:itemID="{8C0BF778-BE4D-4C95-A7A7-8A817414DD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5241A4A-1B57-4E80-B1A7-31077605C80D}">
  <ds:schemaRefs>
    <ds:schemaRef ds:uri="http://schemas.microsoft.com/office/2006/metadata/properties"/>
    <ds:schemaRef ds:uri="http://schemas.microsoft.com/office/infopath/2007/PartnerControls"/>
  </ds:schemaRefs>
</ds:datastoreItem>
</file>

<file path=docMetadata/LabelInfo.xml><?xml version="1.0" encoding="utf-8"?>
<clbl:labelList xmlns:clbl="http://schemas.microsoft.com/office/2020/mipLabelMetadata">
  <clbl:label id="{2fa9e823-faeb-4d27-b167-7065e6efc5a9}" enabled="0" method="" siteId="{2fa9e823-faeb-4d27-b167-7065e6efc5a9}" removed="1"/>
</clbl:labelList>
</file>

<file path=docProps/app.xml><?xml version="1.0" encoding="utf-8"?>
<Properties xmlns="http://schemas.openxmlformats.org/officeDocument/2006/extended-properties" xmlns:vt="http://schemas.openxmlformats.org/officeDocument/2006/docPropsVTypes">
  <TotalTime>1196</TotalTime>
  <Words>2014</Words>
  <Application>Microsoft Office PowerPoint</Application>
  <PresentationFormat>Widescreen</PresentationFormat>
  <Paragraphs>245</Paragraphs>
  <Slides>29</Slides>
  <Notes>15</Notes>
  <HiddenSlides>0</HiddenSlides>
  <MMClips>0</MMClips>
  <ScaleCrop>false</ScaleCrop>
  <HeadingPairs>
    <vt:vector size="4" baseType="variant">
      <vt:variant>
        <vt:lpstr>Theme</vt:lpstr>
      </vt:variant>
      <vt:variant>
        <vt:i4>9</vt:i4>
      </vt:variant>
      <vt:variant>
        <vt:lpstr>Slide Titles</vt:lpstr>
      </vt:variant>
      <vt:variant>
        <vt:i4>29</vt:i4>
      </vt:variant>
    </vt:vector>
  </HeadingPairs>
  <TitlesOfParts>
    <vt:vector size="38" baseType="lpstr">
      <vt:lpstr>1_Office Theme</vt:lpstr>
      <vt:lpstr>4_Office Theme</vt:lpstr>
      <vt:lpstr>5_Office Theme</vt:lpstr>
      <vt:lpstr>2_Office Theme</vt:lpstr>
      <vt:lpstr>8_Office Theme</vt:lpstr>
      <vt:lpstr>9_Office Theme</vt:lpstr>
      <vt:lpstr>2_Baker Donelson</vt:lpstr>
      <vt:lpstr>6_Office Theme</vt:lpstr>
      <vt:lpstr>7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ATA BREACH LITIGATION TREND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BDBCB</dc:creator>
  <cp:lastModifiedBy>BDBCB</cp:lastModifiedBy>
  <cp:revision>6</cp:revision>
  <dcterms:created xsi:type="dcterms:W3CDTF">2025-03-20T13:46:41Z</dcterms:created>
  <dcterms:modified xsi:type="dcterms:W3CDTF">2025-04-21T13:1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dDocumentId">
    <vt:lpwstr>4908-3555-2823</vt:lpwstr>
  </property>
  <property fmtid="{D5CDD505-2E9C-101B-9397-08002B2CF9AE}" pid="3" name="ContentTypeId">
    <vt:lpwstr>0x0101001D1532F43D2BB8429933A191CE991559</vt:lpwstr>
  </property>
</Properties>
</file>